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Override2.xml" ContentType="application/vnd.openxmlformats-officedocument.themeOverrid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Override3.xml" ContentType="application/vnd.openxmlformats-officedocument.themeOverrid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heme/themeOverride4.xml" ContentType="application/vnd.openxmlformats-officedocument.themeOverrid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20" r:id="rId2"/>
    <p:sldMasterId id="2147483732" r:id="rId3"/>
    <p:sldMasterId id="2147483744" r:id="rId4"/>
    <p:sldMasterId id="2147483756" r:id="rId5"/>
    <p:sldMasterId id="2147483768" r:id="rId6"/>
  </p:sldMasterIdLst>
  <p:notesMasterIdLst>
    <p:notesMasterId r:id="rId22"/>
  </p:notesMasterIdLst>
  <p:sldIdLst>
    <p:sldId id="305" r:id="rId7"/>
    <p:sldId id="276" r:id="rId8"/>
    <p:sldId id="277" r:id="rId9"/>
    <p:sldId id="309" r:id="rId10"/>
    <p:sldId id="310" r:id="rId11"/>
    <p:sldId id="307" r:id="rId12"/>
    <p:sldId id="294" r:id="rId13"/>
    <p:sldId id="311" r:id="rId14"/>
    <p:sldId id="312" r:id="rId15"/>
    <p:sldId id="290" r:id="rId16"/>
    <p:sldId id="291" r:id="rId17"/>
    <p:sldId id="297" r:id="rId18"/>
    <p:sldId id="298" r:id="rId19"/>
    <p:sldId id="299" r:id="rId20"/>
    <p:sldId id="293" r:id="rId2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15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>
      <p:cViewPr>
        <p:scale>
          <a:sx n="80" d="100"/>
          <a:sy n="80" d="100"/>
        </p:scale>
        <p:origin x="-852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dirty="0" smtClean="0"/>
        </a:p>
        <a:p>
          <a:endParaRPr lang="ru-RU" sz="1200" dirty="0" smtClean="0"/>
        </a:p>
        <a:p>
          <a:r>
            <a:rPr lang="ru-RU" sz="1200" dirty="0" smtClean="0"/>
            <a:t>Федеральный </a:t>
          </a:r>
        </a:p>
        <a:p>
          <a:r>
            <a:rPr lang="ru-RU" sz="1200" dirty="0" smtClean="0"/>
            <a:t>уровень</a:t>
          </a:r>
          <a:endParaRPr lang="ru-RU" sz="1200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dirty="0"/>
            <a:t>Уровень 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40A1A5B-A1E7-47FC-A8DA-EF3AE1F6AB53}" type="presOf" srcId="{8380A261-4409-4C6B-8A07-0D64C5422F6D}" destId="{3405B94A-B110-4EB0-B99D-680A85764021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0B8C81CA-759A-4A48-A283-8BBFDE4EAAA6}" type="presOf" srcId="{8380A261-4409-4C6B-8A07-0D64C5422F6D}" destId="{EB789FCB-B92C-4A52-BB06-4A95FA62001B}" srcOrd="1" destOrd="0" presId="urn:microsoft.com/office/officeart/2005/8/layout/pyramid1"/>
    <dgm:cxn modelId="{6A99AF0E-7964-433E-BB28-B2DB95FDEF73}" type="presOf" srcId="{F014B99B-BC0F-4D51-AA35-03139CBC5BDF}" destId="{47753778-DDCD-4F66-8671-0963E55AC1AB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5AE8BC74-7DEE-4D32-8D38-6861CF12A888}" type="presOf" srcId="{F014B99B-BC0F-4D51-AA35-03139CBC5BDF}" destId="{158BBE6D-1C8E-4142-827F-B1B32D20364B}" srcOrd="1" destOrd="0" presId="urn:microsoft.com/office/officeart/2005/8/layout/pyramid1"/>
    <dgm:cxn modelId="{85FC70BF-665E-4CED-B708-8BA6832413C2}" type="presOf" srcId="{CBB2EDB4-08BF-49DB-9282-C363CE23E3D0}" destId="{8064A9E2-4365-4891-A563-4210D9FE6047}" srcOrd="1" destOrd="0" presId="urn:microsoft.com/office/officeart/2005/8/layout/pyramid1"/>
    <dgm:cxn modelId="{29AB8E61-36A9-4277-8310-84C0037B90BC}" type="presOf" srcId="{CBB2EDB4-08BF-49DB-9282-C363CE23E3D0}" destId="{7099C5AD-A666-455F-9144-31509FAE35FB}" srcOrd="0" destOrd="0" presId="urn:microsoft.com/office/officeart/2005/8/layout/pyramid1"/>
    <dgm:cxn modelId="{DB8F7FE3-A69D-49C2-B35F-8B8DFCCAA51A}" type="presOf" srcId="{C055D918-0D48-44D3-9287-CAE1B93EB64A}" destId="{8C222443-D6D5-437E-8A06-7845FF64044F}" srcOrd="0" destOrd="0" presId="urn:microsoft.com/office/officeart/2005/8/layout/pyramid1"/>
    <dgm:cxn modelId="{9B0C57E0-0A91-4652-9CE0-8D2CB71DB894}" type="presParOf" srcId="{8C222443-D6D5-437E-8A06-7845FF64044F}" destId="{8E592AC7-B094-488F-86DE-8B46AA43A5F7}" srcOrd="0" destOrd="0" presId="urn:microsoft.com/office/officeart/2005/8/layout/pyramid1"/>
    <dgm:cxn modelId="{5889B229-0DB0-4FA9-8C73-7AAA7ED417FF}" type="presParOf" srcId="{8E592AC7-B094-488F-86DE-8B46AA43A5F7}" destId="{47753778-DDCD-4F66-8671-0963E55AC1AB}" srcOrd="0" destOrd="0" presId="urn:microsoft.com/office/officeart/2005/8/layout/pyramid1"/>
    <dgm:cxn modelId="{4FA0F2F1-88AD-46AC-B978-D61575E1E370}" type="presParOf" srcId="{8E592AC7-B094-488F-86DE-8B46AA43A5F7}" destId="{158BBE6D-1C8E-4142-827F-B1B32D20364B}" srcOrd="1" destOrd="0" presId="urn:microsoft.com/office/officeart/2005/8/layout/pyramid1"/>
    <dgm:cxn modelId="{8F77D801-BBB5-44CB-A46D-C120EC80FF98}" type="presParOf" srcId="{8C222443-D6D5-437E-8A06-7845FF64044F}" destId="{08609C55-E487-4600-AFD0-8994D3888F22}" srcOrd="1" destOrd="0" presId="urn:microsoft.com/office/officeart/2005/8/layout/pyramid1"/>
    <dgm:cxn modelId="{B411A3ED-184C-49BA-B4C5-F30EB651AF16}" type="presParOf" srcId="{08609C55-E487-4600-AFD0-8994D3888F22}" destId="{7099C5AD-A666-455F-9144-31509FAE35FB}" srcOrd="0" destOrd="0" presId="urn:microsoft.com/office/officeart/2005/8/layout/pyramid1"/>
    <dgm:cxn modelId="{BF656AED-E0AD-4265-BE22-A1ABD6DF16C3}" type="presParOf" srcId="{08609C55-E487-4600-AFD0-8994D3888F22}" destId="{8064A9E2-4365-4891-A563-4210D9FE6047}" srcOrd="1" destOrd="0" presId="urn:microsoft.com/office/officeart/2005/8/layout/pyramid1"/>
    <dgm:cxn modelId="{72A2B978-D327-458F-BCC4-1CBD97F6B3CE}" type="presParOf" srcId="{8C222443-D6D5-437E-8A06-7845FF64044F}" destId="{4E66420A-6794-4210-A8DC-A681DFE94B26}" srcOrd="2" destOrd="0" presId="urn:microsoft.com/office/officeart/2005/8/layout/pyramid1"/>
    <dgm:cxn modelId="{06570A84-6A36-4CEF-82AF-272AE90BD2AF}" type="presParOf" srcId="{4E66420A-6794-4210-A8DC-A681DFE94B26}" destId="{3405B94A-B110-4EB0-B99D-680A85764021}" srcOrd="0" destOrd="0" presId="urn:microsoft.com/office/officeart/2005/8/layout/pyramid1"/>
    <dgm:cxn modelId="{E49C2E78-B101-4106-861D-D79EC6A21CD8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870803" y="0"/>
          <a:ext cx="1870804" cy="1415050"/>
        </a:xfrm>
        <a:prstGeom prst="trapezoid">
          <a:avLst>
            <a:gd name="adj" fmla="val 66104"/>
          </a:avLst>
        </a:prstGeom>
        <a:solidFill>
          <a:schemeClr val="bg2">
            <a:lumMod val="9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уровень</a:t>
          </a:r>
          <a:endParaRPr lang="ru-RU" sz="1200" kern="1200" dirty="0"/>
        </a:p>
      </dsp:txBody>
      <dsp:txXfrm>
        <a:off x="1870803" y="0"/>
        <a:ext cx="1870804" cy="1415050"/>
      </dsp:txXfrm>
    </dsp:sp>
    <dsp:sp modelId="{7099C5AD-A666-455F-9144-31509FAE35FB}">
      <dsp:nvSpPr>
        <dsp:cNvPr id="0" name=""/>
        <dsp:cNvSpPr/>
      </dsp:nvSpPr>
      <dsp:spPr>
        <a:xfrm>
          <a:off x="928704" y="1428762"/>
          <a:ext cx="3741608" cy="1415050"/>
        </a:xfrm>
        <a:prstGeom prst="trapezoid">
          <a:avLst>
            <a:gd name="adj" fmla="val 66104"/>
          </a:avLst>
        </a:prstGeom>
        <a:solidFill>
          <a:srgbClr val="FFC000">
            <a:alpha val="70000"/>
          </a:srgb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/>
            <a:t>Региональный уровень</a:t>
          </a:r>
        </a:p>
      </dsp:txBody>
      <dsp:txXfrm>
        <a:off x="1583485" y="1428762"/>
        <a:ext cx="2432045" cy="1415050"/>
      </dsp:txXfrm>
    </dsp:sp>
    <dsp:sp modelId="{3405B94A-B110-4EB0-B99D-680A85764021}">
      <dsp:nvSpPr>
        <dsp:cNvPr id="0" name=""/>
        <dsp:cNvSpPr/>
      </dsp:nvSpPr>
      <dsp:spPr>
        <a:xfrm>
          <a:off x="0" y="2816388"/>
          <a:ext cx="5612412" cy="1415050"/>
        </a:xfrm>
        <a:prstGeom prst="trapezoid">
          <a:avLst>
            <a:gd name="adj" fmla="val 66104"/>
          </a:avLst>
        </a:prstGeom>
        <a:solidFill>
          <a:schemeClr val="accent2">
            <a:lumMod val="75000"/>
            <a:alpha val="5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/>
            <a:t>Уровень организации</a:t>
          </a:r>
        </a:p>
      </dsp:txBody>
      <dsp:txXfrm>
        <a:off x="982172" y="2816388"/>
        <a:ext cx="3648067" cy="1415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7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5740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4994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9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1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5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1780108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556001"/>
            <a:ext cx="6400800" cy="14732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7C6EDED-7287-4C84-9670-1CD8FCD95FFF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681DA1-C3F1-48A1-B9CC-0DEECB57F5B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F9896E2-8AEF-45BF-99F3-53EFAAFB9F61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76D21B-5F67-4E43-AB0C-3EB06C7AE910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4736592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>
            <a:spLocks/>
          </p:cNvSpPr>
          <p:nvPr/>
        </p:nvSpPr>
        <p:spPr bwMode="hidden">
          <a:xfrm>
            <a:off x="6047438" y="4203592"/>
            <a:ext cx="2876429" cy="714026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chemeClr val="bg2">
              <a:alpha val="29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18"/>
          <p:cNvSpPr>
            <a:spLocks/>
          </p:cNvSpPr>
          <p:nvPr/>
        </p:nvSpPr>
        <p:spPr bwMode="hidden">
          <a:xfrm>
            <a:off x="2619320" y="4075290"/>
            <a:ext cx="5544515" cy="850138"/>
          </a:xfrm>
          <a:custGeom>
            <a:avLst/>
            <a:gdLst/>
            <a:ahLst/>
            <a:cxnLst>
              <a:cxn ang="0">
                <a:pos x="5216" y="714"/>
              </a:cxn>
              <a:cxn ang="0">
                <a:pos x="4984" y="686"/>
              </a:cxn>
              <a:cxn ang="0">
                <a:pos x="4478" y="610"/>
              </a:cxn>
              <a:cxn ang="0">
                <a:pos x="3914" y="508"/>
              </a:cxn>
              <a:cxn ang="0">
                <a:pos x="3286" y="374"/>
              </a:cxn>
              <a:cxn ang="0">
                <a:pos x="2946" y="296"/>
              </a:cxn>
              <a:cxn ang="0">
                <a:pos x="2682" y="236"/>
              </a:cxn>
              <a:cxn ang="0">
                <a:pos x="2430" y="184"/>
              </a:cxn>
              <a:cxn ang="0">
                <a:pos x="2190" y="140"/>
              </a:cxn>
              <a:cxn ang="0">
                <a:pos x="1960" y="102"/>
              </a:cxn>
              <a:cxn ang="0">
                <a:pos x="1740" y="72"/>
              </a:cxn>
              <a:cxn ang="0">
                <a:pos x="1334" y="28"/>
              </a:cxn>
              <a:cxn ang="0">
                <a:pos x="970" y="4"/>
              </a:cxn>
              <a:cxn ang="0">
                <a:pos x="644" y="0"/>
              </a:cxn>
              <a:cxn ang="0">
                <a:pos x="358" y="10"/>
              </a:cxn>
              <a:cxn ang="0">
                <a:pos x="110" y="32"/>
              </a:cxn>
              <a:cxn ang="0">
                <a:pos x="0" y="48"/>
              </a:cxn>
              <a:cxn ang="0">
                <a:pos x="314" y="86"/>
              </a:cxn>
              <a:cxn ang="0">
                <a:pos x="652" y="140"/>
              </a:cxn>
              <a:cxn ang="0">
                <a:pos x="1014" y="210"/>
              </a:cxn>
              <a:cxn ang="0">
                <a:pos x="1402" y="296"/>
              </a:cxn>
              <a:cxn ang="0">
                <a:pos x="1756" y="378"/>
              </a:cxn>
              <a:cxn ang="0">
                <a:pos x="2408" y="516"/>
              </a:cxn>
              <a:cxn ang="0">
                <a:pos x="2708" y="572"/>
              </a:cxn>
              <a:cxn ang="0">
                <a:pos x="2992" y="620"/>
              </a:cxn>
              <a:cxn ang="0">
                <a:pos x="3260" y="662"/>
              </a:cxn>
              <a:cxn ang="0">
                <a:pos x="3512" y="694"/>
              </a:cxn>
              <a:cxn ang="0">
                <a:pos x="3750" y="722"/>
              </a:cxn>
              <a:cxn ang="0">
                <a:pos x="3974" y="740"/>
              </a:cxn>
              <a:cxn ang="0">
                <a:pos x="4184" y="754"/>
              </a:cxn>
              <a:cxn ang="0">
                <a:pos x="4384" y="762"/>
              </a:cxn>
              <a:cxn ang="0">
                <a:pos x="4570" y="762"/>
              </a:cxn>
              <a:cxn ang="0">
                <a:pos x="4746" y="758"/>
              </a:cxn>
              <a:cxn ang="0">
                <a:pos x="4912" y="748"/>
              </a:cxn>
              <a:cxn ang="0">
                <a:pos x="5068" y="732"/>
              </a:cxn>
              <a:cxn ang="0">
                <a:pos x="5216" y="714"/>
              </a:cxn>
            </a:cxnLst>
            <a:rect l="0" t="0" r="r" b="b"/>
            <a:pathLst>
              <a:path w="5216" h="762">
                <a:moveTo>
                  <a:pt x="5216" y="714"/>
                </a:moveTo>
                <a:lnTo>
                  <a:pt x="5216" y="714"/>
                </a:lnTo>
                <a:lnTo>
                  <a:pt x="5102" y="700"/>
                </a:lnTo>
                <a:lnTo>
                  <a:pt x="4984" y="686"/>
                </a:lnTo>
                <a:lnTo>
                  <a:pt x="4738" y="652"/>
                </a:lnTo>
                <a:lnTo>
                  <a:pt x="4478" y="610"/>
                </a:lnTo>
                <a:lnTo>
                  <a:pt x="4204" y="564"/>
                </a:lnTo>
                <a:lnTo>
                  <a:pt x="3914" y="508"/>
                </a:lnTo>
                <a:lnTo>
                  <a:pt x="3608" y="446"/>
                </a:lnTo>
                <a:lnTo>
                  <a:pt x="3286" y="374"/>
                </a:lnTo>
                <a:lnTo>
                  <a:pt x="2946" y="296"/>
                </a:lnTo>
                <a:lnTo>
                  <a:pt x="2946" y="296"/>
                </a:lnTo>
                <a:lnTo>
                  <a:pt x="2812" y="266"/>
                </a:lnTo>
                <a:lnTo>
                  <a:pt x="2682" y="236"/>
                </a:lnTo>
                <a:lnTo>
                  <a:pt x="2556" y="210"/>
                </a:lnTo>
                <a:lnTo>
                  <a:pt x="2430" y="184"/>
                </a:lnTo>
                <a:lnTo>
                  <a:pt x="2308" y="162"/>
                </a:lnTo>
                <a:lnTo>
                  <a:pt x="2190" y="140"/>
                </a:lnTo>
                <a:lnTo>
                  <a:pt x="2074" y="120"/>
                </a:lnTo>
                <a:lnTo>
                  <a:pt x="1960" y="102"/>
                </a:lnTo>
                <a:lnTo>
                  <a:pt x="1850" y="86"/>
                </a:lnTo>
                <a:lnTo>
                  <a:pt x="1740" y="72"/>
                </a:lnTo>
                <a:lnTo>
                  <a:pt x="1532" y="46"/>
                </a:lnTo>
                <a:lnTo>
                  <a:pt x="1334" y="28"/>
                </a:lnTo>
                <a:lnTo>
                  <a:pt x="1148" y="14"/>
                </a:lnTo>
                <a:lnTo>
                  <a:pt x="970" y="4"/>
                </a:lnTo>
                <a:lnTo>
                  <a:pt x="802" y="0"/>
                </a:lnTo>
                <a:lnTo>
                  <a:pt x="644" y="0"/>
                </a:lnTo>
                <a:lnTo>
                  <a:pt x="496" y="4"/>
                </a:lnTo>
                <a:lnTo>
                  <a:pt x="358" y="10"/>
                </a:lnTo>
                <a:lnTo>
                  <a:pt x="230" y="20"/>
                </a:lnTo>
                <a:lnTo>
                  <a:pt x="110" y="32"/>
                </a:lnTo>
                <a:lnTo>
                  <a:pt x="0" y="48"/>
                </a:lnTo>
                <a:lnTo>
                  <a:pt x="0" y="48"/>
                </a:lnTo>
                <a:lnTo>
                  <a:pt x="154" y="66"/>
                </a:lnTo>
                <a:lnTo>
                  <a:pt x="314" y="86"/>
                </a:lnTo>
                <a:lnTo>
                  <a:pt x="480" y="112"/>
                </a:lnTo>
                <a:lnTo>
                  <a:pt x="652" y="140"/>
                </a:lnTo>
                <a:lnTo>
                  <a:pt x="830" y="174"/>
                </a:lnTo>
                <a:lnTo>
                  <a:pt x="1014" y="210"/>
                </a:lnTo>
                <a:lnTo>
                  <a:pt x="1206" y="250"/>
                </a:lnTo>
                <a:lnTo>
                  <a:pt x="1402" y="296"/>
                </a:lnTo>
                <a:lnTo>
                  <a:pt x="1402" y="296"/>
                </a:lnTo>
                <a:lnTo>
                  <a:pt x="1756" y="378"/>
                </a:lnTo>
                <a:lnTo>
                  <a:pt x="2092" y="450"/>
                </a:lnTo>
                <a:lnTo>
                  <a:pt x="2408" y="516"/>
                </a:lnTo>
                <a:lnTo>
                  <a:pt x="2562" y="544"/>
                </a:lnTo>
                <a:lnTo>
                  <a:pt x="2708" y="572"/>
                </a:lnTo>
                <a:lnTo>
                  <a:pt x="2852" y="598"/>
                </a:lnTo>
                <a:lnTo>
                  <a:pt x="2992" y="620"/>
                </a:lnTo>
                <a:lnTo>
                  <a:pt x="3128" y="642"/>
                </a:lnTo>
                <a:lnTo>
                  <a:pt x="3260" y="662"/>
                </a:lnTo>
                <a:lnTo>
                  <a:pt x="3388" y="678"/>
                </a:lnTo>
                <a:lnTo>
                  <a:pt x="3512" y="694"/>
                </a:lnTo>
                <a:lnTo>
                  <a:pt x="3632" y="708"/>
                </a:lnTo>
                <a:lnTo>
                  <a:pt x="3750" y="722"/>
                </a:lnTo>
                <a:lnTo>
                  <a:pt x="3864" y="732"/>
                </a:lnTo>
                <a:lnTo>
                  <a:pt x="3974" y="740"/>
                </a:lnTo>
                <a:lnTo>
                  <a:pt x="4080" y="748"/>
                </a:lnTo>
                <a:lnTo>
                  <a:pt x="4184" y="754"/>
                </a:lnTo>
                <a:lnTo>
                  <a:pt x="4286" y="758"/>
                </a:lnTo>
                <a:lnTo>
                  <a:pt x="4384" y="762"/>
                </a:lnTo>
                <a:lnTo>
                  <a:pt x="4478" y="762"/>
                </a:lnTo>
                <a:lnTo>
                  <a:pt x="4570" y="762"/>
                </a:lnTo>
                <a:lnTo>
                  <a:pt x="4660" y="760"/>
                </a:lnTo>
                <a:lnTo>
                  <a:pt x="4746" y="758"/>
                </a:lnTo>
                <a:lnTo>
                  <a:pt x="4830" y="754"/>
                </a:lnTo>
                <a:lnTo>
                  <a:pt x="4912" y="748"/>
                </a:lnTo>
                <a:lnTo>
                  <a:pt x="4992" y="740"/>
                </a:lnTo>
                <a:lnTo>
                  <a:pt x="5068" y="732"/>
                </a:lnTo>
                <a:lnTo>
                  <a:pt x="5144" y="724"/>
                </a:lnTo>
                <a:lnTo>
                  <a:pt x="5216" y="714"/>
                </a:lnTo>
                <a:lnTo>
                  <a:pt x="5216" y="714"/>
                </a:lnTo>
                <a:close/>
              </a:path>
            </a:pathLst>
          </a:custGeom>
          <a:solidFill>
            <a:schemeClr val="bg2">
              <a:alpha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22"/>
          <p:cNvSpPr>
            <a:spLocks/>
          </p:cNvSpPr>
          <p:nvPr/>
        </p:nvSpPr>
        <p:spPr bwMode="hidden">
          <a:xfrm>
            <a:off x="2828728" y="4087562"/>
            <a:ext cx="5467980" cy="774272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0" y="70"/>
              </a:cxn>
              <a:cxn ang="0">
                <a:pos x="18" y="66"/>
              </a:cxn>
              <a:cxn ang="0">
                <a:pos x="72" y="56"/>
              </a:cxn>
              <a:cxn ang="0">
                <a:pos x="164" y="42"/>
              </a:cxn>
              <a:cxn ang="0">
                <a:pos x="224" y="34"/>
              </a:cxn>
              <a:cxn ang="0">
                <a:pos x="294" y="26"/>
              </a:cxn>
              <a:cxn ang="0">
                <a:pos x="372" y="20"/>
              </a:cxn>
              <a:cxn ang="0">
                <a:pos x="462" y="14"/>
              </a:cxn>
              <a:cxn ang="0">
                <a:pos x="560" y="8"/>
              </a:cxn>
              <a:cxn ang="0">
                <a:pos x="670" y="4"/>
              </a:cxn>
              <a:cxn ang="0">
                <a:pos x="790" y="2"/>
              </a:cxn>
              <a:cxn ang="0">
                <a:pos x="920" y="0"/>
              </a:cxn>
              <a:cxn ang="0">
                <a:pos x="1060" y="2"/>
              </a:cxn>
              <a:cxn ang="0">
                <a:pos x="1210" y="6"/>
              </a:cxn>
              <a:cxn ang="0">
                <a:pos x="1372" y="14"/>
              </a:cxn>
              <a:cxn ang="0">
                <a:pos x="1544" y="24"/>
              </a:cxn>
              <a:cxn ang="0">
                <a:pos x="1726" y="40"/>
              </a:cxn>
              <a:cxn ang="0">
                <a:pos x="1920" y="58"/>
              </a:cxn>
              <a:cxn ang="0">
                <a:pos x="2126" y="80"/>
              </a:cxn>
              <a:cxn ang="0">
                <a:pos x="2342" y="106"/>
              </a:cxn>
              <a:cxn ang="0">
                <a:pos x="2570" y="138"/>
              </a:cxn>
              <a:cxn ang="0">
                <a:pos x="2808" y="174"/>
              </a:cxn>
              <a:cxn ang="0">
                <a:pos x="3058" y="216"/>
              </a:cxn>
              <a:cxn ang="0">
                <a:pos x="3320" y="266"/>
              </a:cxn>
              <a:cxn ang="0">
                <a:pos x="3594" y="320"/>
              </a:cxn>
              <a:cxn ang="0">
                <a:pos x="3880" y="380"/>
              </a:cxn>
              <a:cxn ang="0">
                <a:pos x="4178" y="448"/>
              </a:cxn>
              <a:cxn ang="0">
                <a:pos x="4488" y="522"/>
              </a:cxn>
              <a:cxn ang="0">
                <a:pos x="4810" y="604"/>
              </a:cxn>
              <a:cxn ang="0">
                <a:pos x="5144" y="694"/>
              </a:cxn>
            </a:cxnLst>
            <a:rect l="0" t="0" r="r" b="b"/>
            <a:pathLst>
              <a:path w="5144" h="694">
                <a:moveTo>
                  <a:pt x="0" y="70"/>
                </a:moveTo>
                <a:lnTo>
                  <a:pt x="0" y="70"/>
                </a:lnTo>
                <a:lnTo>
                  <a:pt x="18" y="66"/>
                </a:lnTo>
                <a:lnTo>
                  <a:pt x="72" y="56"/>
                </a:lnTo>
                <a:lnTo>
                  <a:pt x="164" y="42"/>
                </a:lnTo>
                <a:lnTo>
                  <a:pt x="224" y="34"/>
                </a:lnTo>
                <a:lnTo>
                  <a:pt x="294" y="26"/>
                </a:lnTo>
                <a:lnTo>
                  <a:pt x="372" y="20"/>
                </a:lnTo>
                <a:lnTo>
                  <a:pt x="462" y="14"/>
                </a:lnTo>
                <a:lnTo>
                  <a:pt x="560" y="8"/>
                </a:lnTo>
                <a:lnTo>
                  <a:pt x="670" y="4"/>
                </a:lnTo>
                <a:lnTo>
                  <a:pt x="790" y="2"/>
                </a:lnTo>
                <a:lnTo>
                  <a:pt x="920" y="0"/>
                </a:lnTo>
                <a:lnTo>
                  <a:pt x="1060" y="2"/>
                </a:lnTo>
                <a:lnTo>
                  <a:pt x="1210" y="6"/>
                </a:lnTo>
                <a:lnTo>
                  <a:pt x="1372" y="14"/>
                </a:lnTo>
                <a:lnTo>
                  <a:pt x="1544" y="24"/>
                </a:lnTo>
                <a:lnTo>
                  <a:pt x="1726" y="40"/>
                </a:lnTo>
                <a:lnTo>
                  <a:pt x="1920" y="58"/>
                </a:lnTo>
                <a:lnTo>
                  <a:pt x="2126" y="80"/>
                </a:lnTo>
                <a:lnTo>
                  <a:pt x="2342" y="106"/>
                </a:lnTo>
                <a:lnTo>
                  <a:pt x="2570" y="138"/>
                </a:lnTo>
                <a:lnTo>
                  <a:pt x="2808" y="174"/>
                </a:lnTo>
                <a:lnTo>
                  <a:pt x="3058" y="216"/>
                </a:lnTo>
                <a:lnTo>
                  <a:pt x="3320" y="266"/>
                </a:lnTo>
                <a:lnTo>
                  <a:pt x="3594" y="320"/>
                </a:lnTo>
                <a:lnTo>
                  <a:pt x="3880" y="380"/>
                </a:lnTo>
                <a:lnTo>
                  <a:pt x="4178" y="448"/>
                </a:lnTo>
                <a:lnTo>
                  <a:pt x="4488" y="522"/>
                </a:lnTo>
                <a:lnTo>
                  <a:pt x="4810" y="604"/>
                </a:lnTo>
                <a:lnTo>
                  <a:pt x="5144" y="694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26"/>
          <p:cNvSpPr>
            <a:spLocks/>
          </p:cNvSpPr>
          <p:nvPr/>
        </p:nvSpPr>
        <p:spPr bwMode="hidden">
          <a:xfrm>
            <a:off x="5609489" y="4074174"/>
            <a:ext cx="3308000" cy="651549"/>
          </a:xfrm>
          <a:custGeom>
            <a:avLst/>
            <a:gdLst/>
            <a:ahLst/>
            <a:cxnLst>
              <a:cxn ang="0">
                <a:pos x="0" y="584"/>
              </a:cxn>
              <a:cxn ang="0">
                <a:pos x="0" y="584"/>
              </a:cxn>
              <a:cxn ang="0">
                <a:pos x="90" y="560"/>
              </a:cxn>
              <a:cxn ang="0">
                <a:pos x="336" y="498"/>
              </a:cxn>
              <a:cxn ang="0">
                <a:pos x="506" y="456"/>
              </a:cxn>
              <a:cxn ang="0">
                <a:pos x="702" y="410"/>
              </a:cxn>
              <a:cxn ang="0">
                <a:pos x="920" y="360"/>
              </a:cxn>
              <a:cxn ang="0">
                <a:pos x="1154" y="306"/>
              </a:cxn>
              <a:cxn ang="0">
                <a:pos x="1402" y="254"/>
              </a:cxn>
              <a:cxn ang="0">
                <a:pos x="1656" y="202"/>
              </a:cxn>
              <a:cxn ang="0">
                <a:pos x="1916" y="154"/>
              </a:cxn>
              <a:cxn ang="0">
                <a:pos x="2174" y="108"/>
              </a:cxn>
              <a:cxn ang="0">
                <a:pos x="2302" y="88"/>
              </a:cxn>
              <a:cxn ang="0">
                <a:pos x="2426" y="68"/>
              </a:cxn>
              <a:cxn ang="0">
                <a:pos x="2550" y="52"/>
              </a:cxn>
              <a:cxn ang="0">
                <a:pos x="2670" y="36"/>
              </a:cxn>
              <a:cxn ang="0">
                <a:pos x="2788" y="24"/>
              </a:cxn>
              <a:cxn ang="0">
                <a:pos x="2900" y="14"/>
              </a:cxn>
              <a:cxn ang="0">
                <a:pos x="3008" y="6"/>
              </a:cxn>
              <a:cxn ang="0">
                <a:pos x="3112" y="0"/>
              </a:cxn>
            </a:cxnLst>
            <a:rect l="0" t="0" r="r" b="b"/>
            <a:pathLst>
              <a:path w="3112" h="584">
                <a:moveTo>
                  <a:pt x="0" y="584"/>
                </a:moveTo>
                <a:lnTo>
                  <a:pt x="0" y="584"/>
                </a:lnTo>
                <a:lnTo>
                  <a:pt x="90" y="560"/>
                </a:lnTo>
                <a:lnTo>
                  <a:pt x="336" y="498"/>
                </a:lnTo>
                <a:lnTo>
                  <a:pt x="506" y="456"/>
                </a:lnTo>
                <a:lnTo>
                  <a:pt x="702" y="410"/>
                </a:lnTo>
                <a:lnTo>
                  <a:pt x="920" y="360"/>
                </a:lnTo>
                <a:lnTo>
                  <a:pt x="1154" y="306"/>
                </a:lnTo>
                <a:lnTo>
                  <a:pt x="1402" y="254"/>
                </a:lnTo>
                <a:lnTo>
                  <a:pt x="1656" y="202"/>
                </a:lnTo>
                <a:lnTo>
                  <a:pt x="1916" y="154"/>
                </a:lnTo>
                <a:lnTo>
                  <a:pt x="2174" y="108"/>
                </a:lnTo>
                <a:lnTo>
                  <a:pt x="2302" y="88"/>
                </a:lnTo>
                <a:lnTo>
                  <a:pt x="2426" y="68"/>
                </a:lnTo>
                <a:lnTo>
                  <a:pt x="2550" y="52"/>
                </a:lnTo>
                <a:lnTo>
                  <a:pt x="2670" y="36"/>
                </a:lnTo>
                <a:lnTo>
                  <a:pt x="2788" y="24"/>
                </a:lnTo>
                <a:lnTo>
                  <a:pt x="2900" y="14"/>
                </a:lnTo>
                <a:lnTo>
                  <a:pt x="3008" y="6"/>
                </a:lnTo>
                <a:lnTo>
                  <a:pt x="3112" y="0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 useBgFill="1">
        <p:nvSpPr>
          <p:cNvPr id="13" name="Freeform 10"/>
          <p:cNvSpPr>
            <a:spLocks/>
          </p:cNvSpPr>
          <p:nvPr/>
        </p:nvSpPr>
        <p:spPr bwMode="hidden">
          <a:xfrm>
            <a:off x="211665" y="4058555"/>
            <a:ext cx="8723376" cy="1329874"/>
          </a:xfrm>
          <a:custGeom>
            <a:avLst/>
            <a:gdLst/>
            <a:ahLst/>
            <a:cxnLst>
              <a:cxn ang="0">
                <a:pos x="8192" y="512"/>
              </a:cxn>
              <a:cxn ang="0">
                <a:pos x="8040" y="570"/>
              </a:cxn>
              <a:cxn ang="0">
                <a:pos x="7878" y="620"/>
              </a:cxn>
              <a:cxn ang="0">
                <a:pos x="7706" y="666"/>
              </a:cxn>
              <a:cxn ang="0">
                <a:pos x="7522" y="702"/>
              </a:cxn>
              <a:cxn ang="0">
                <a:pos x="7322" y="730"/>
              </a:cxn>
              <a:cxn ang="0">
                <a:pos x="7106" y="750"/>
              </a:cxn>
              <a:cxn ang="0">
                <a:pos x="6872" y="762"/>
              </a:cxn>
              <a:cxn ang="0">
                <a:pos x="6618" y="760"/>
              </a:cxn>
              <a:cxn ang="0">
                <a:pos x="6342" y="750"/>
              </a:cxn>
              <a:cxn ang="0">
                <a:pos x="6042" y="726"/>
              </a:cxn>
              <a:cxn ang="0">
                <a:pos x="5716" y="690"/>
              </a:cxn>
              <a:cxn ang="0">
                <a:pos x="5364" y="642"/>
              </a:cxn>
              <a:cxn ang="0">
                <a:pos x="4982" y="578"/>
              </a:cxn>
              <a:cxn ang="0">
                <a:pos x="4568" y="500"/>
              </a:cxn>
              <a:cxn ang="0">
                <a:pos x="4122" y="406"/>
              </a:cxn>
              <a:cxn ang="0">
                <a:pos x="3640" y="296"/>
              </a:cxn>
              <a:cxn ang="0">
                <a:pos x="3396" y="240"/>
              </a:cxn>
              <a:cxn ang="0">
                <a:pos x="2934" y="148"/>
              </a:cxn>
              <a:cxn ang="0">
                <a:pos x="2512" y="82"/>
              </a:cxn>
              <a:cxn ang="0">
                <a:pos x="2126" y="36"/>
              </a:cxn>
              <a:cxn ang="0">
                <a:pos x="1776" y="10"/>
              </a:cxn>
              <a:cxn ang="0">
                <a:pos x="1462" y="0"/>
              </a:cxn>
              <a:cxn ang="0">
                <a:pos x="1182" y="4"/>
              </a:cxn>
              <a:cxn ang="0">
                <a:pos x="934" y="20"/>
              </a:cxn>
              <a:cxn ang="0">
                <a:pos x="716" y="44"/>
              </a:cxn>
              <a:cxn ang="0">
                <a:pos x="530" y="74"/>
              </a:cxn>
              <a:cxn ang="0">
                <a:pos x="374" y="108"/>
              </a:cxn>
              <a:cxn ang="0">
                <a:pos x="248" y="144"/>
              </a:cxn>
              <a:cxn ang="0">
                <a:pos x="148" y="176"/>
              </a:cxn>
              <a:cxn ang="0">
                <a:pos x="48" y="216"/>
              </a:cxn>
              <a:cxn ang="0">
                <a:pos x="0" y="240"/>
              </a:cxn>
              <a:cxn ang="0">
                <a:pos x="8192" y="1192"/>
              </a:cxn>
              <a:cxn ang="0">
                <a:pos x="8196" y="1186"/>
              </a:cxn>
              <a:cxn ang="0">
                <a:pos x="8196" y="510"/>
              </a:cxn>
              <a:cxn ang="0">
                <a:pos x="8192" y="512"/>
              </a:cxn>
            </a:cxnLst>
            <a:rect l="0" t="0" r="r" b="b"/>
            <a:pathLst>
              <a:path w="8196" h="1192">
                <a:moveTo>
                  <a:pt x="8192" y="512"/>
                </a:moveTo>
                <a:lnTo>
                  <a:pt x="8192" y="512"/>
                </a:lnTo>
                <a:lnTo>
                  <a:pt x="8116" y="542"/>
                </a:lnTo>
                <a:lnTo>
                  <a:pt x="8040" y="570"/>
                </a:lnTo>
                <a:lnTo>
                  <a:pt x="7960" y="596"/>
                </a:lnTo>
                <a:lnTo>
                  <a:pt x="7878" y="620"/>
                </a:lnTo>
                <a:lnTo>
                  <a:pt x="7794" y="644"/>
                </a:lnTo>
                <a:lnTo>
                  <a:pt x="7706" y="666"/>
                </a:lnTo>
                <a:lnTo>
                  <a:pt x="7616" y="684"/>
                </a:lnTo>
                <a:lnTo>
                  <a:pt x="7522" y="702"/>
                </a:lnTo>
                <a:lnTo>
                  <a:pt x="7424" y="718"/>
                </a:lnTo>
                <a:lnTo>
                  <a:pt x="7322" y="730"/>
                </a:lnTo>
                <a:lnTo>
                  <a:pt x="7216" y="742"/>
                </a:lnTo>
                <a:lnTo>
                  <a:pt x="7106" y="750"/>
                </a:lnTo>
                <a:lnTo>
                  <a:pt x="6992" y="758"/>
                </a:lnTo>
                <a:lnTo>
                  <a:pt x="6872" y="762"/>
                </a:lnTo>
                <a:lnTo>
                  <a:pt x="6748" y="762"/>
                </a:lnTo>
                <a:lnTo>
                  <a:pt x="6618" y="760"/>
                </a:lnTo>
                <a:lnTo>
                  <a:pt x="6482" y="756"/>
                </a:lnTo>
                <a:lnTo>
                  <a:pt x="6342" y="750"/>
                </a:lnTo>
                <a:lnTo>
                  <a:pt x="6196" y="740"/>
                </a:lnTo>
                <a:lnTo>
                  <a:pt x="6042" y="726"/>
                </a:lnTo>
                <a:lnTo>
                  <a:pt x="5882" y="710"/>
                </a:lnTo>
                <a:lnTo>
                  <a:pt x="5716" y="690"/>
                </a:lnTo>
                <a:lnTo>
                  <a:pt x="5544" y="668"/>
                </a:lnTo>
                <a:lnTo>
                  <a:pt x="5364" y="642"/>
                </a:lnTo>
                <a:lnTo>
                  <a:pt x="5176" y="612"/>
                </a:lnTo>
                <a:lnTo>
                  <a:pt x="4982" y="578"/>
                </a:lnTo>
                <a:lnTo>
                  <a:pt x="4778" y="540"/>
                </a:lnTo>
                <a:lnTo>
                  <a:pt x="4568" y="500"/>
                </a:lnTo>
                <a:lnTo>
                  <a:pt x="4348" y="454"/>
                </a:lnTo>
                <a:lnTo>
                  <a:pt x="4122" y="406"/>
                </a:lnTo>
                <a:lnTo>
                  <a:pt x="3886" y="354"/>
                </a:lnTo>
                <a:lnTo>
                  <a:pt x="3640" y="296"/>
                </a:lnTo>
                <a:lnTo>
                  <a:pt x="3640" y="296"/>
                </a:lnTo>
                <a:lnTo>
                  <a:pt x="3396" y="240"/>
                </a:lnTo>
                <a:lnTo>
                  <a:pt x="3160" y="192"/>
                </a:lnTo>
                <a:lnTo>
                  <a:pt x="2934" y="148"/>
                </a:lnTo>
                <a:lnTo>
                  <a:pt x="2718" y="112"/>
                </a:lnTo>
                <a:lnTo>
                  <a:pt x="2512" y="82"/>
                </a:lnTo>
                <a:lnTo>
                  <a:pt x="2314" y="56"/>
                </a:lnTo>
                <a:lnTo>
                  <a:pt x="2126" y="36"/>
                </a:lnTo>
                <a:lnTo>
                  <a:pt x="1948" y="20"/>
                </a:lnTo>
                <a:lnTo>
                  <a:pt x="1776" y="10"/>
                </a:lnTo>
                <a:lnTo>
                  <a:pt x="1616" y="2"/>
                </a:lnTo>
                <a:lnTo>
                  <a:pt x="1462" y="0"/>
                </a:lnTo>
                <a:lnTo>
                  <a:pt x="1318" y="0"/>
                </a:lnTo>
                <a:lnTo>
                  <a:pt x="1182" y="4"/>
                </a:lnTo>
                <a:lnTo>
                  <a:pt x="1054" y="10"/>
                </a:lnTo>
                <a:lnTo>
                  <a:pt x="934" y="20"/>
                </a:lnTo>
                <a:lnTo>
                  <a:pt x="822" y="30"/>
                </a:lnTo>
                <a:lnTo>
                  <a:pt x="716" y="44"/>
                </a:lnTo>
                <a:lnTo>
                  <a:pt x="620" y="58"/>
                </a:lnTo>
                <a:lnTo>
                  <a:pt x="530" y="74"/>
                </a:lnTo>
                <a:lnTo>
                  <a:pt x="450" y="92"/>
                </a:lnTo>
                <a:lnTo>
                  <a:pt x="374" y="108"/>
                </a:lnTo>
                <a:lnTo>
                  <a:pt x="308" y="126"/>
                </a:lnTo>
                <a:lnTo>
                  <a:pt x="248" y="144"/>
                </a:lnTo>
                <a:lnTo>
                  <a:pt x="194" y="160"/>
                </a:lnTo>
                <a:lnTo>
                  <a:pt x="148" y="176"/>
                </a:lnTo>
                <a:lnTo>
                  <a:pt x="108" y="192"/>
                </a:lnTo>
                <a:lnTo>
                  <a:pt x="48" y="216"/>
                </a:lnTo>
                <a:lnTo>
                  <a:pt x="12" y="234"/>
                </a:lnTo>
                <a:lnTo>
                  <a:pt x="0" y="240"/>
                </a:lnTo>
                <a:lnTo>
                  <a:pt x="0" y="1192"/>
                </a:lnTo>
                <a:lnTo>
                  <a:pt x="8192" y="1192"/>
                </a:lnTo>
                <a:lnTo>
                  <a:pt x="8192" y="1192"/>
                </a:lnTo>
                <a:lnTo>
                  <a:pt x="8196" y="1186"/>
                </a:lnTo>
                <a:lnTo>
                  <a:pt x="8196" y="1186"/>
                </a:lnTo>
                <a:lnTo>
                  <a:pt x="8196" y="510"/>
                </a:lnTo>
                <a:lnTo>
                  <a:pt x="8196" y="510"/>
                </a:lnTo>
                <a:lnTo>
                  <a:pt x="8192" y="512"/>
                </a:lnTo>
                <a:lnTo>
                  <a:pt x="8192" y="512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032" y="2463560"/>
            <a:ext cx="7772400" cy="1524000"/>
          </a:xfrm>
        </p:spPr>
        <p:txBody>
          <a:bodyPr anchor="t">
            <a:normAutofit/>
          </a:bodyPr>
          <a:lstStyle>
            <a:lvl1pPr algn="ctr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7365" y="1437448"/>
            <a:ext cx="6417734" cy="939801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1AEBE08-4F6E-4901-9B51-622A4368F8FD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0D6059A-4B7E-4078-A977-2DC6CDD6715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7BD458-C297-4699-9222-C8F50606FCA0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08E687-395F-4A8F-94F1-532C1B7B2B5D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76655" y="2679192"/>
            <a:ext cx="3822192" cy="3447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2679192"/>
            <a:ext cx="3822192" cy="3447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678114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7332" y="3429000"/>
            <a:ext cx="3820055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678113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429000"/>
            <a:ext cx="3822192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1B25AA8-B4C4-4C86-B07E-9DF9CB121299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71A402-15B3-4AA1-872A-6ACB52DE232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DDF7819-31B9-4E61-BE30-9A6CD235F10A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Эффективное управление временем и ресурсами.                                                                                            </a:t>
            </a:r>
            <a:fld id="{A13642CC-F513-4786-9095-030F5A9D433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29874"/>
            <a:chOff x="-3905251" y="4294188"/>
            <a:chExt cx="13027839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9B7E82B-913D-4865-B27E-57624C61B3AF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29D217F-CB12-47CA-B6C0-55B68FEC477C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4300FA-CDF3-4DE2-86B1-67A3BB281A51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3434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0933960-4AA9-432F-B6EC-F9C55D9A4A03}" type="slidenum">
              <a:rPr lang="ru-RU" smtClean="0">
                <a:solidFill>
                  <a:srgbClr val="434342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3434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3581400"/>
            <a:ext cx="3352800" cy="190500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grpSp>
        <p:nvGrpSpPr>
          <p:cNvPr id="2" name="Group 23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25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9" name="Freeform 28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914400" y="2286000"/>
            <a:ext cx="3352800" cy="1252728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1962" y="1828800"/>
            <a:ext cx="3904076" cy="3810000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tx2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tx2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tx2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0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4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155" y="338667"/>
            <a:ext cx="3812645" cy="2429934"/>
          </a:xfrm>
        </p:spPr>
        <p:txBody>
          <a:bodyPr anchor="b">
            <a:normAutofit/>
          </a:bodyPr>
          <a:lstStyle>
            <a:lvl1pPr algn="l"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68333" y="2785533"/>
            <a:ext cx="3818467" cy="24214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4A3396-9C04-4FB1-91AA-F751FA795862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F4C2231-ED8F-4226-9337-E63DCDAB6BE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371600"/>
            <a:ext cx="3566160" cy="2926080"/>
          </a:xfrm>
          <a:prstGeom prst="roundRect">
            <a:avLst>
              <a:gd name="adj" fmla="val 3924"/>
            </a:avLst>
          </a:prstGeom>
          <a:solidFill>
            <a:schemeClr val="accent1"/>
          </a:solidFill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 fov="600000">
              <a:rot lat="240000" lon="19799999" rev="0"/>
            </a:camera>
            <a:lightRig rig="threePt" dir="t">
              <a:rot lat="0" lon="0" rev="2700000"/>
            </a:lightRig>
          </a:scene3d>
          <a:sp3d>
            <a:bevelT w="44450" h="31750"/>
          </a:sp3d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F839462-F4C1-4733-90BC-BC5821AE8A4C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D9D750D-2DF7-49F0-8865-8EA9E144129B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 bwMode="hidden"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30C795-A4AC-4C2E-9D84-76A82F955380}" type="datetime1">
              <a:rPr lang="ru-RU" smtClean="0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8B9813E-4143-474D-9576-20BA7F437F0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15" name="Group 14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0" name="Freeform 19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447800"/>
            <a:ext cx="2057400" cy="4487333"/>
          </a:xfrm>
        </p:spPr>
        <p:txBody>
          <a:bodyPr vert="eaVert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6019800" cy="4487334"/>
          </a:xfrm>
        </p:spPr>
        <p:txBody>
          <a:bodyPr vert="eaVert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514350" y="5349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ctrTitle"/>
          </p:nvPr>
        </p:nvSpPr>
        <p:spPr>
          <a:xfrm>
            <a:off x="381000" y="4853411"/>
            <a:ext cx="8458200" cy="1222375"/>
          </a:xfrm>
        </p:spPr>
        <p:txBody>
          <a:bodyPr anchor="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81000" y="3886200"/>
            <a:ext cx="84582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5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30FD1-3AE4-4A5E-8A69-C3F99566B7B3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06DF0C-72CC-4094-B250-B35DE9540BCA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072644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Содержимое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1DEAB-25FE-4250-9EEE-DE72B4885121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3581400" y="76200"/>
            <a:ext cx="2895600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C16968-A541-4B5C-9838-2595CAB6EFBD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4052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514350" y="3444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381000" y="1676400"/>
            <a:ext cx="84582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80475" y="2947085"/>
            <a:ext cx="86868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5BF5DC-161D-43F9-972C-E0CAE0AD2E62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9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AF18E-4392-4833-924F-3396B5E4CB1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431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790699-762B-4F48-980F-3A4C6632892E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7CE5B8-B05B-410F-AA19-89C593D5BBB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004375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6019800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>
          <a:xfrm>
            <a:off x="304800" y="5410200"/>
            <a:ext cx="8610600" cy="8826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281444" y="666750"/>
            <a:ext cx="4290556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half" idx="3"/>
          </p:nvPr>
        </p:nvSpPr>
        <p:spPr>
          <a:xfrm>
            <a:off x="4645025" y="666750"/>
            <a:ext cx="42922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281444" y="1316037"/>
            <a:ext cx="429055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28" name="Содержимое 27"/>
          <p:cNvSpPr>
            <a:spLocks noGrp="1"/>
          </p:cNvSpPr>
          <p:nvPr>
            <p:ph sz="quarter" idx="4"/>
          </p:nvPr>
        </p:nvSpPr>
        <p:spPr>
          <a:xfrm>
            <a:off x="4648730" y="1316037"/>
            <a:ext cx="428853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55637-11A1-416D-873C-F1AF9576216D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229600" y="6477000"/>
            <a:ext cx="762000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6405D2-7128-4C0E-999C-E0BF9BDBED73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789783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2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F4C301-8C17-4A9D-A773-9D906A453168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4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7FD13B">
                    <a:shade val="75000"/>
                  </a:srgb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90435984-26A9-4C85-9310-B72A963CA2E3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499326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551989-2945-450B-A153-12E8B7C90C5C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3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28E38-F94B-4B5C-8A0A-97A2D36B554A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999986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4"/>
          <p:cNvSpPr>
            <a:spLocks noChangeShapeType="1"/>
          </p:cNvSpPr>
          <p:nvPr/>
        </p:nvSpPr>
        <p:spPr bwMode="auto">
          <a:xfrm>
            <a:off x="514350" y="5849117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457200" y="5486400"/>
            <a:ext cx="8458200" cy="520700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idx="2"/>
          </p:nvPr>
        </p:nvSpPr>
        <p:spPr>
          <a:xfrm>
            <a:off x="457200" y="609600"/>
            <a:ext cx="3008313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575050" y="609600"/>
            <a:ext cx="5340350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149B5D-3143-4641-87E4-EECC9B8EBC7F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8DB701-1B17-485C-8593-9520BF522181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244908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idx="1"/>
          </p:nvPr>
        </p:nvSpPr>
        <p:spPr>
          <a:xfrm>
            <a:off x="3505200" y="616634"/>
            <a:ext cx="50292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381000" y="4993760"/>
            <a:ext cx="5867400" cy="522288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sz="half" idx="2"/>
          </p:nvPr>
        </p:nvSpPr>
        <p:spPr>
          <a:xfrm>
            <a:off x="381000" y="5533218"/>
            <a:ext cx="58674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D2A4F-64E5-4A5C-A75E-A33A60560D10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B44DD-2264-4E3C-8D88-1E753A3C931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422911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760E8A-AA4A-4EC3-B557-D06F25B39CA1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5DC1C2-C4A7-4A70-84FD-F431A86E50C6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74014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549276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549276"/>
            <a:ext cx="6248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CF4D3-E661-491D-A30C-87DA6DABC8C9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C93B9-6B0B-47C4-A119-195058D3AE62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867271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514350" y="5349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ctrTitle"/>
          </p:nvPr>
        </p:nvSpPr>
        <p:spPr>
          <a:xfrm>
            <a:off x="381000" y="4853411"/>
            <a:ext cx="8458200" cy="1222375"/>
          </a:xfrm>
        </p:spPr>
        <p:txBody>
          <a:bodyPr anchor="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81000" y="3886200"/>
            <a:ext cx="84582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5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30FD1-3AE4-4A5E-8A69-C3F99566B7B3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06DF0C-72CC-4094-B250-B35DE9540BCA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559660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Содержимое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1DEAB-25FE-4250-9EEE-DE72B4885121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3581400" y="76200"/>
            <a:ext cx="2895600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C16968-A541-4B5C-9838-2595CAB6EFBD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363428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514350" y="3444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381000" y="1676400"/>
            <a:ext cx="84582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80475" y="2947085"/>
            <a:ext cx="86868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5BF5DC-161D-43F9-972C-E0CAE0AD2E62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9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AF18E-4392-4833-924F-3396B5E4CB1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631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790699-762B-4F48-980F-3A4C6632892E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7CE5B8-B05B-410F-AA19-89C593D5BBB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712746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6019800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>
          <a:xfrm>
            <a:off x="304800" y="5410200"/>
            <a:ext cx="8610600" cy="8826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281444" y="666750"/>
            <a:ext cx="4290556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half" idx="3"/>
          </p:nvPr>
        </p:nvSpPr>
        <p:spPr>
          <a:xfrm>
            <a:off x="4645025" y="666750"/>
            <a:ext cx="42922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281444" y="1316037"/>
            <a:ext cx="429055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28" name="Содержимое 27"/>
          <p:cNvSpPr>
            <a:spLocks noGrp="1"/>
          </p:cNvSpPr>
          <p:nvPr>
            <p:ph sz="quarter" idx="4"/>
          </p:nvPr>
        </p:nvSpPr>
        <p:spPr>
          <a:xfrm>
            <a:off x="4648730" y="1316037"/>
            <a:ext cx="428853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55637-11A1-416D-873C-F1AF9576216D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229600" y="6477000"/>
            <a:ext cx="762000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6405D2-7128-4C0E-999C-E0BF9BDBED73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049706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2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F4C301-8C17-4A9D-A773-9D906A453168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4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7FD13B">
                    <a:shade val="75000"/>
                  </a:srgb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90435984-26A9-4C85-9310-B72A963CA2E3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65997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551989-2945-450B-A153-12E8B7C90C5C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3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28E38-F94B-4B5C-8A0A-97A2D36B554A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45106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4"/>
          <p:cNvSpPr>
            <a:spLocks noChangeShapeType="1"/>
          </p:cNvSpPr>
          <p:nvPr/>
        </p:nvSpPr>
        <p:spPr bwMode="auto">
          <a:xfrm>
            <a:off x="514350" y="5849117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457200" y="5486400"/>
            <a:ext cx="8458200" cy="520700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idx="2"/>
          </p:nvPr>
        </p:nvSpPr>
        <p:spPr>
          <a:xfrm>
            <a:off x="457200" y="609600"/>
            <a:ext cx="3008313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575050" y="609600"/>
            <a:ext cx="5340350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149B5D-3143-4641-87E4-EECC9B8EBC7F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8DB701-1B17-485C-8593-9520BF522181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419859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idx="1"/>
          </p:nvPr>
        </p:nvSpPr>
        <p:spPr>
          <a:xfrm>
            <a:off x="3505200" y="616634"/>
            <a:ext cx="50292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381000" y="4993760"/>
            <a:ext cx="5867400" cy="522288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sz="half" idx="2"/>
          </p:nvPr>
        </p:nvSpPr>
        <p:spPr>
          <a:xfrm>
            <a:off x="381000" y="5533218"/>
            <a:ext cx="58674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D2A4F-64E5-4A5C-A75E-A33A60560D10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B44DD-2264-4E3C-8D88-1E753A3C931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261056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760E8A-AA4A-4EC3-B557-D06F25B39CA1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5DC1C2-C4A7-4A70-84FD-F431A86E50C6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865625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549276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549276"/>
            <a:ext cx="6248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CF4D3-E661-491D-A30C-87DA6DABC8C9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C93B9-6B0B-47C4-A119-195058D3AE62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304431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514350" y="5349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ctrTitle"/>
          </p:nvPr>
        </p:nvSpPr>
        <p:spPr>
          <a:xfrm>
            <a:off x="381000" y="4853411"/>
            <a:ext cx="8458200" cy="1222375"/>
          </a:xfrm>
        </p:spPr>
        <p:txBody>
          <a:bodyPr anchor="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81000" y="3886200"/>
            <a:ext cx="84582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5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30FD1-3AE4-4A5E-8A69-C3F99566B7B3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06DF0C-72CC-4094-B250-B35DE9540BCA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353151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Содержимое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1DEAB-25FE-4250-9EEE-DE72B4885121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3581400" y="76200"/>
            <a:ext cx="2895600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C16968-A541-4B5C-9838-2595CAB6EFBD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743114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514350" y="3444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381000" y="1676400"/>
            <a:ext cx="84582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80475" y="2947085"/>
            <a:ext cx="86868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5BF5DC-161D-43F9-972C-E0CAE0AD2E62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9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AF18E-4392-4833-924F-3396B5E4CB1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404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790699-762B-4F48-980F-3A4C6632892E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7CE5B8-B05B-410F-AA19-89C593D5BBB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376656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6019800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>
          <a:xfrm>
            <a:off x="304800" y="5410200"/>
            <a:ext cx="8610600" cy="8826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281444" y="666750"/>
            <a:ext cx="4290556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half" idx="3"/>
          </p:nvPr>
        </p:nvSpPr>
        <p:spPr>
          <a:xfrm>
            <a:off x="4645025" y="666750"/>
            <a:ext cx="42922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281444" y="1316037"/>
            <a:ext cx="429055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28" name="Содержимое 27"/>
          <p:cNvSpPr>
            <a:spLocks noGrp="1"/>
          </p:cNvSpPr>
          <p:nvPr>
            <p:ph sz="quarter" idx="4"/>
          </p:nvPr>
        </p:nvSpPr>
        <p:spPr>
          <a:xfrm>
            <a:off x="4648730" y="1316037"/>
            <a:ext cx="428853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55637-11A1-416D-873C-F1AF9576216D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229600" y="6477000"/>
            <a:ext cx="762000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6405D2-7128-4C0E-999C-E0BF9BDBED73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975735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2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F4C301-8C17-4A9D-A773-9D906A453168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4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7FD13B">
                    <a:shade val="75000"/>
                  </a:srgb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90435984-26A9-4C85-9310-B72A963CA2E3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58608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551989-2945-450B-A153-12E8B7C90C5C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3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28E38-F94B-4B5C-8A0A-97A2D36B554A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895946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4"/>
          <p:cNvSpPr>
            <a:spLocks noChangeShapeType="1"/>
          </p:cNvSpPr>
          <p:nvPr/>
        </p:nvSpPr>
        <p:spPr bwMode="auto">
          <a:xfrm>
            <a:off x="514350" y="5849117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457200" y="5486400"/>
            <a:ext cx="8458200" cy="520700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idx="2"/>
          </p:nvPr>
        </p:nvSpPr>
        <p:spPr>
          <a:xfrm>
            <a:off x="457200" y="609600"/>
            <a:ext cx="3008313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575050" y="609600"/>
            <a:ext cx="5340350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149B5D-3143-4641-87E4-EECC9B8EBC7F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8DB701-1B17-485C-8593-9520BF522181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213871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idx="1"/>
          </p:nvPr>
        </p:nvSpPr>
        <p:spPr>
          <a:xfrm>
            <a:off x="3505200" y="616634"/>
            <a:ext cx="50292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381000" y="4993760"/>
            <a:ext cx="5867400" cy="522288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sz="half" idx="2"/>
          </p:nvPr>
        </p:nvSpPr>
        <p:spPr>
          <a:xfrm>
            <a:off x="381000" y="5533218"/>
            <a:ext cx="58674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D2A4F-64E5-4A5C-A75E-A33A60560D10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B44DD-2264-4E3C-8D88-1E753A3C931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608861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760E8A-AA4A-4EC3-B557-D06F25B39CA1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5DC1C2-C4A7-4A70-84FD-F431A86E50C6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36311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549276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549276"/>
            <a:ext cx="6248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CF4D3-E661-491D-A30C-87DA6DABC8C9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C93B9-6B0B-47C4-A119-195058D3AE62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792402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514350" y="5349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ctrTitle"/>
          </p:nvPr>
        </p:nvSpPr>
        <p:spPr>
          <a:xfrm>
            <a:off x="381000" y="4853411"/>
            <a:ext cx="8458200" cy="1222375"/>
          </a:xfrm>
        </p:spPr>
        <p:txBody>
          <a:bodyPr anchor="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81000" y="3886200"/>
            <a:ext cx="84582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5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30FD1-3AE4-4A5E-8A69-C3F99566B7B3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06DF0C-72CC-4094-B250-B35DE9540BCA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141038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Содержимое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1DEAB-25FE-4250-9EEE-DE72B4885121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3581400" y="76200"/>
            <a:ext cx="2895600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C16968-A541-4B5C-9838-2595CAB6EFBD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720294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514350" y="3444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381000" y="1676400"/>
            <a:ext cx="84582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80475" y="2947085"/>
            <a:ext cx="86868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5BF5DC-161D-43F9-972C-E0CAE0AD2E62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9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AF18E-4392-4833-924F-3396B5E4CB1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99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790699-762B-4F48-980F-3A4C6632892E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7CE5B8-B05B-410F-AA19-89C593D5BBB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047905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6019800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>
          <a:xfrm>
            <a:off x="304800" y="5410200"/>
            <a:ext cx="8610600" cy="8826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281444" y="666750"/>
            <a:ext cx="4290556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half" idx="3"/>
          </p:nvPr>
        </p:nvSpPr>
        <p:spPr>
          <a:xfrm>
            <a:off x="4645025" y="666750"/>
            <a:ext cx="42922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281444" y="1316037"/>
            <a:ext cx="429055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28" name="Содержимое 27"/>
          <p:cNvSpPr>
            <a:spLocks noGrp="1"/>
          </p:cNvSpPr>
          <p:nvPr>
            <p:ph sz="quarter" idx="4"/>
          </p:nvPr>
        </p:nvSpPr>
        <p:spPr>
          <a:xfrm>
            <a:off x="4648730" y="1316037"/>
            <a:ext cx="428853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55637-11A1-416D-873C-F1AF9576216D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229600" y="6477000"/>
            <a:ext cx="762000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6405D2-7128-4C0E-999C-E0BF9BDBED73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885857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2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F4C301-8C17-4A9D-A773-9D906A453168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4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7FD13B">
                    <a:shade val="75000"/>
                  </a:srgb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90435984-26A9-4C85-9310-B72A963CA2E3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782569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551989-2945-450B-A153-12E8B7C90C5C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3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28E38-F94B-4B5C-8A0A-97A2D36B554A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908674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4"/>
          <p:cNvSpPr>
            <a:spLocks noChangeShapeType="1"/>
          </p:cNvSpPr>
          <p:nvPr/>
        </p:nvSpPr>
        <p:spPr bwMode="auto">
          <a:xfrm>
            <a:off x="514350" y="5849117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457200" y="5486400"/>
            <a:ext cx="8458200" cy="520700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idx="2"/>
          </p:nvPr>
        </p:nvSpPr>
        <p:spPr>
          <a:xfrm>
            <a:off x="457200" y="609600"/>
            <a:ext cx="3008313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575050" y="609600"/>
            <a:ext cx="5340350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149B5D-3143-4641-87E4-EECC9B8EBC7F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8DB701-1B17-485C-8593-9520BF522181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885852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idx="1"/>
          </p:nvPr>
        </p:nvSpPr>
        <p:spPr>
          <a:xfrm>
            <a:off x="3505200" y="616634"/>
            <a:ext cx="50292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381000" y="4993760"/>
            <a:ext cx="5867400" cy="522288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sz="half" idx="2"/>
          </p:nvPr>
        </p:nvSpPr>
        <p:spPr>
          <a:xfrm>
            <a:off x="381000" y="5533218"/>
            <a:ext cx="58674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D2A4F-64E5-4A5C-A75E-A33A60560D10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B44DD-2264-4E3C-8D88-1E753A3C931C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06656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760E8A-AA4A-4EC3-B557-D06F25B39CA1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5DC1C2-C4A7-4A70-84FD-F431A86E50C6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005353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549276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549276"/>
            <a:ext cx="6248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CF4D3-E661-491D-A30C-87DA6DABC8C9}" type="datetime1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C93B9-6B0B-47C4-A119-195058D3AE62}" type="slidenum">
              <a:rPr lang="ru-RU">
                <a:solidFill>
                  <a:srgbClr val="7FD13B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7FD13B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833008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2468880"/>
          </a:xfrm>
          <a:prstGeom prst="roundRect">
            <a:avLst>
              <a:gd name="adj" fmla="val 336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15"/>
          <p:cNvGrpSpPr>
            <a:grpSpLocks noChangeAspect="1"/>
          </p:cNvGrpSpPr>
          <p:nvPr/>
        </p:nvGrpSpPr>
        <p:grpSpPr bwMode="hidden">
          <a:xfrm>
            <a:off x="211665" y="1679429"/>
            <a:ext cx="8723376" cy="1329874"/>
            <a:chOff x="-3905251" y="4294188"/>
            <a:chExt cx="13027839" cy="1892300"/>
          </a:xfrm>
        </p:grpSpPr>
        <p:sp>
          <p:nvSpPr>
            <p:cNvPr id="1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12527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38" y="6250164"/>
            <a:ext cx="37866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91088" y="6250163"/>
            <a:ext cx="1161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2067" y="2675467"/>
            <a:ext cx="7408333" cy="3450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FFFF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263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55663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6304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8308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10312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42316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74320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29" name="Текст 7"/>
          <p:cNvSpPr>
            <a:spLocks noGrp="1"/>
          </p:cNvSpPr>
          <p:nvPr>
            <p:ph type="body" idx="1"/>
          </p:nvPr>
        </p:nvSpPr>
        <p:spPr bwMode="auto">
          <a:xfrm>
            <a:off x="304800" y="1554163"/>
            <a:ext cx="86868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Дата 10"/>
          <p:cNvSpPr>
            <a:spLocks noGrp="1"/>
          </p:cNvSpPr>
          <p:nvPr>
            <p:ph type="dt" sz="half" idx="2"/>
          </p:nvPr>
        </p:nvSpPr>
        <p:spPr>
          <a:xfrm>
            <a:off x="6477000" y="76200"/>
            <a:ext cx="2514600" cy="2889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1CC4EF7-E758-4739-AA39-91CEA9A255AC}" type="datetime1">
              <a:rPr lang="ru-RU">
                <a:solidFill>
                  <a:srgbClr val="7FD13B">
                    <a:shade val="75000"/>
                  </a:srgbClr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3"/>
          </p:nvPr>
        </p:nvSpPr>
        <p:spPr>
          <a:xfrm>
            <a:off x="3124200" y="76200"/>
            <a:ext cx="3352800" cy="2889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229600" y="6477000"/>
            <a:ext cx="762000" cy="24447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3D6C1AA-BF3D-496B-9BFB-4ACF205FB926}" type="slidenum">
              <a:rPr lang="ru-RU">
                <a:solidFill>
                  <a:srgbClr val="7FD13B">
                    <a:shade val="75000"/>
                  </a:srgbClr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304800" y="457200"/>
            <a:ext cx="86868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514350" y="105798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72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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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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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29" name="Текст 7"/>
          <p:cNvSpPr>
            <a:spLocks noGrp="1"/>
          </p:cNvSpPr>
          <p:nvPr>
            <p:ph type="body" idx="1"/>
          </p:nvPr>
        </p:nvSpPr>
        <p:spPr bwMode="auto">
          <a:xfrm>
            <a:off x="304800" y="1554163"/>
            <a:ext cx="86868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Дата 10"/>
          <p:cNvSpPr>
            <a:spLocks noGrp="1"/>
          </p:cNvSpPr>
          <p:nvPr>
            <p:ph type="dt" sz="half" idx="2"/>
          </p:nvPr>
        </p:nvSpPr>
        <p:spPr>
          <a:xfrm>
            <a:off x="6477000" y="76200"/>
            <a:ext cx="2514600" cy="2889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1CC4EF7-E758-4739-AA39-91CEA9A255AC}" type="datetime1">
              <a:rPr lang="ru-RU">
                <a:solidFill>
                  <a:srgbClr val="7FD13B">
                    <a:shade val="75000"/>
                  </a:srgbClr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3"/>
          </p:nvPr>
        </p:nvSpPr>
        <p:spPr>
          <a:xfrm>
            <a:off x="3124200" y="76200"/>
            <a:ext cx="3352800" cy="2889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229600" y="6477000"/>
            <a:ext cx="762000" cy="24447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3D6C1AA-BF3D-496B-9BFB-4ACF205FB926}" type="slidenum">
              <a:rPr lang="ru-RU">
                <a:solidFill>
                  <a:srgbClr val="7FD13B">
                    <a:shade val="75000"/>
                  </a:srgbClr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304800" y="457200"/>
            <a:ext cx="86868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514350" y="105798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8804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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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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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29" name="Текст 7"/>
          <p:cNvSpPr>
            <a:spLocks noGrp="1"/>
          </p:cNvSpPr>
          <p:nvPr>
            <p:ph type="body" idx="1"/>
          </p:nvPr>
        </p:nvSpPr>
        <p:spPr bwMode="auto">
          <a:xfrm>
            <a:off x="304800" y="1554163"/>
            <a:ext cx="86868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Дата 10"/>
          <p:cNvSpPr>
            <a:spLocks noGrp="1"/>
          </p:cNvSpPr>
          <p:nvPr>
            <p:ph type="dt" sz="half" idx="2"/>
          </p:nvPr>
        </p:nvSpPr>
        <p:spPr>
          <a:xfrm>
            <a:off x="6477000" y="76200"/>
            <a:ext cx="2514600" cy="2889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1CC4EF7-E758-4739-AA39-91CEA9A255AC}" type="datetime1">
              <a:rPr lang="ru-RU">
                <a:solidFill>
                  <a:srgbClr val="7FD13B">
                    <a:shade val="75000"/>
                  </a:srgbClr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3"/>
          </p:nvPr>
        </p:nvSpPr>
        <p:spPr>
          <a:xfrm>
            <a:off x="3124200" y="76200"/>
            <a:ext cx="3352800" cy="2889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229600" y="6477000"/>
            <a:ext cx="762000" cy="24447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3D6C1AA-BF3D-496B-9BFB-4ACF205FB926}" type="slidenum">
              <a:rPr lang="ru-RU">
                <a:solidFill>
                  <a:srgbClr val="7FD13B">
                    <a:shade val="75000"/>
                  </a:srgbClr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304800" y="457200"/>
            <a:ext cx="86868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514350" y="105798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099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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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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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29" name="Текст 7"/>
          <p:cNvSpPr>
            <a:spLocks noGrp="1"/>
          </p:cNvSpPr>
          <p:nvPr>
            <p:ph type="body" idx="1"/>
          </p:nvPr>
        </p:nvSpPr>
        <p:spPr bwMode="auto">
          <a:xfrm>
            <a:off x="304800" y="1554163"/>
            <a:ext cx="86868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Дата 10"/>
          <p:cNvSpPr>
            <a:spLocks noGrp="1"/>
          </p:cNvSpPr>
          <p:nvPr>
            <p:ph type="dt" sz="half" idx="2"/>
          </p:nvPr>
        </p:nvSpPr>
        <p:spPr>
          <a:xfrm>
            <a:off x="6477000" y="76200"/>
            <a:ext cx="2514600" cy="2889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1CC4EF7-E758-4739-AA39-91CEA9A255AC}" type="datetime1">
              <a:rPr lang="ru-RU">
                <a:solidFill>
                  <a:srgbClr val="7FD13B">
                    <a:shade val="75000"/>
                  </a:srgbClr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.10.2021</a:t>
            </a:fld>
            <a:endParaRPr lang="ru-RU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3"/>
          </p:nvPr>
        </p:nvSpPr>
        <p:spPr>
          <a:xfrm>
            <a:off x="3124200" y="76200"/>
            <a:ext cx="3352800" cy="2889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229600" y="6477000"/>
            <a:ext cx="762000" cy="24447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3D6C1AA-BF3D-496B-9BFB-4ACF205FB926}" type="slidenum">
              <a:rPr lang="ru-RU">
                <a:solidFill>
                  <a:srgbClr val="7FD13B">
                    <a:shade val="75000"/>
                  </a:srgbClr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7FD13B">
                  <a:shade val="75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304800" y="457200"/>
            <a:ext cx="86868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514350" y="105798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31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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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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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emf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11188" y="4951281"/>
            <a:ext cx="813817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1600" dirty="0" smtClean="0">
                <a:solidFill>
                  <a:prstClr val="black">
                    <a:lumMod val="50000"/>
                  </a:prstClr>
                </a:solidFill>
                <a:latin typeface="Franklin Gothic Medium" pitchFamily="34" charset="0"/>
              </a:rPr>
              <a:t>Заместитель директора</a:t>
            </a:r>
            <a:endParaRPr lang="ru-RU" altLang="ru-RU" sz="1600" dirty="0">
              <a:solidFill>
                <a:prstClr val="black">
                  <a:lumMod val="50000"/>
                </a:prstClr>
              </a:solidFill>
              <a:latin typeface="Franklin Gothic Medium" pitchFamily="34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Пронина Светлана Васильевна</a:t>
            </a:r>
            <a:endParaRPr lang="ru-RU" sz="1600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99592" y="6232525"/>
            <a:ext cx="67865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dirty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ОГБОУ «</a:t>
            </a:r>
            <a:r>
              <a:rPr lang="ru-RU" sz="1200" dirty="0" err="1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Шебекинская</a:t>
            </a:r>
            <a:r>
              <a:rPr lang="ru-RU" sz="1200" dirty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 СОШ с УИОП», </a:t>
            </a:r>
            <a:r>
              <a:rPr lang="ru-RU" sz="1200" dirty="0" smtClean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2021год</a:t>
            </a:r>
            <a:endParaRPr lang="ru-RU" sz="1200" dirty="0">
              <a:solidFill>
                <a:srgbClr val="000000"/>
              </a:solidFill>
              <a:latin typeface="Franklin Gothic Medium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09939" y="1543411"/>
            <a:ext cx="6590453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>
              <a:defRPr/>
            </a:pPr>
            <a:endParaRPr lang="ru-RU" dirty="0">
              <a:solidFill>
                <a:prstClr val="black">
                  <a:lumMod val="50000"/>
                </a:prst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7377" y="69285"/>
            <a:ext cx="9021258" cy="6744432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560980"/>
              </p:ext>
            </p:extLst>
          </p:nvPr>
        </p:nvGraphicFramePr>
        <p:xfrm>
          <a:off x="395536" y="1077202"/>
          <a:ext cx="7886700" cy="731520"/>
        </p:xfrm>
        <a:graphic>
          <a:graphicData uri="http://schemas.openxmlformats.org/drawingml/2006/table">
            <a:tbl>
              <a:tblPr/>
              <a:tblGrid>
                <a:gridCol w="7886700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бластное государственное бюджетное общеобразовательное учреждение «</a:t>
                      </a:r>
                      <a:r>
                        <a:rPr kumimoji="0" lang="ru-RU" altLang="ru-RU" sz="16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Шебекинская</a:t>
                      </a:r>
                      <a:r>
                        <a:rPr kumimoji="0" lang="ru-RU" alt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редняя общеобразовательная школа с углублённым изучением отдельных предметов» Белгородской области</a:t>
                      </a:r>
                      <a:endParaRPr kumimoji="0" lang="ru-RU" alt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114300" marR="11430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1" name="Заголовок 3"/>
          <p:cNvSpPr txBox="1">
            <a:spLocks/>
          </p:cNvSpPr>
          <p:nvPr/>
        </p:nvSpPr>
        <p:spPr>
          <a:xfrm>
            <a:off x="722410" y="2362199"/>
            <a:ext cx="7416502" cy="2158603"/>
          </a:xfrm>
          <a:prstGeom prst="rect">
            <a:avLst/>
          </a:prstGeom>
        </p:spPr>
        <p:txBody>
          <a:bodyPr vert="horz" rtlCol="0" anchor="t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effectLst>
                  <a:reflection blurRad="12700" stA="48000" endA="300" endPos="55000" dir="5400000" sy="-90000" algn="bl" rotWithShape="0"/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3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бразовательный проект</a:t>
            </a:r>
            <a:br>
              <a:rPr lang="ru-RU" sz="3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«ОПТИМИЗАЦИЯ  ПРОЦЕССА </a:t>
            </a:r>
            <a:br>
              <a:rPr lang="ru-RU" sz="3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мплексного анализа текста </a:t>
            </a:r>
            <a:br>
              <a:rPr lang="ru-RU" sz="3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 5-6-х классах »</a:t>
            </a:r>
            <a:endParaRPr lang="ru-RU" sz="30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6198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44475" y="3501009"/>
            <a:ext cx="8636000" cy="286119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28604"/>
            <a:ext cx="8648700" cy="631822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1015F"/>
                </a:solidFill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85720" y="1214422"/>
            <a:ext cx="8636000" cy="21565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76285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643624" y="1800138"/>
            <a:ext cx="1365225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ведена индивидуальная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бота по развитию навыков осознанного чтения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534697" y="1523913"/>
            <a:ext cx="10398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500562" y="1357298"/>
            <a:ext cx="10398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539552" y="4099063"/>
            <a:ext cx="10398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643438" y="4071942"/>
            <a:ext cx="10398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46362" y="4507016"/>
            <a:ext cx="185026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знание правил орфографии</a:t>
            </a: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286248" y="4429132"/>
            <a:ext cx="189629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истематизировать  работу по формированию орфографической зоркости-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хема-алгоритм</a:t>
            </a:r>
            <a:endParaRPr lang="ru-RU" alt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470594" y="1800138"/>
            <a:ext cx="185026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изкий темп чтения    </a:t>
            </a:r>
          </a:p>
        </p:txBody>
      </p:sp>
      <p:pic>
        <p:nvPicPr>
          <p:cNvPr id="7292" name="Picture 124" descr="C:\Users\User\Desktop\зам по МР\опорная площадка\Реализованные проекты\ОБРАЗОВАТЕЛЬНЫЙ ПРОЕКТГершен Л.А\001_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4175079"/>
            <a:ext cx="1782258" cy="133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75977" y="3862953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28604"/>
            <a:ext cx="8648700" cy="631822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1015F"/>
                </a:solidFill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0796" y="1268760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76285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286248" y="1714488"/>
            <a:ext cx="1525372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аны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амятки по понятиям: «тема», «основная мысль», «заголовок»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494344" y="1557022"/>
            <a:ext cx="103981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355976" y="1418034"/>
            <a:ext cx="103981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341504" y="4099063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429124" y="4071942"/>
            <a:ext cx="103981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46362" y="4507016"/>
            <a:ext cx="185026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рудности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 определении тип, стиля текста</a:t>
            </a: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286248" y="4357694"/>
            <a:ext cx="129389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ана памятка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Тип и стиль текста»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494344" y="1816716"/>
            <a:ext cx="18502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ети путают понятия: «тема», «основная мысль», «заголовок»</a:t>
            </a:r>
          </a:p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320" name="Picture 128" descr="img1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2417" y="1422404"/>
            <a:ext cx="2656344" cy="185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21" name="Picture 129" descr="a5363bbadd3b1a3c410400525d2916ab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6714" y="4079805"/>
            <a:ext cx="2645323" cy="1848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12528" y="3902484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28604"/>
            <a:ext cx="8648700" cy="631822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1015F"/>
                </a:solidFill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40435" y="1289718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76285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286248" y="1714488"/>
            <a:ext cx="152537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ана схема-алгоритм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редств  выразительности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494344" y="1557022"/>
            <a:ext cx="103981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355976" y="1418034"/>
            <a:ext cx="103981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341504" y="4099063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429124" y="4071942"/>
            <a:ext cx="103981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2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46362" y="4507016"/>
            <a:ext cx="185026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ложности в разграничении  простого  предложения с однородными сказуемыми и СП</a:t>
            </a: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286248" y="4357694"/>
            <a:ext cx="1293897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аны блок-схемы 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теме  «Сложные  предложения»: с примерами</a:t>
            </a:r>
            <a:endParaRPr lang="ru-RU" alt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494344" y="1816716"/>
            <a:ext cx="185026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рудности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 определении средств  выразительности</a:t>
            </a:r>
          </a:p>
        </p:txBody>
      </p:sp>
      <p:pic>
        <p:nvPicPr>
          <p:cNvPr id="32861" name="Picture 9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1387247"/>
            <a:ext cx="2238126" cy="2118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863" name="Picture 9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2782" y="3902484"/>
            <a:ext cx="1544018" cy="2145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3-4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500" y="1905000"/>
            <a:ext cx="130968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3662" y="1522413"/>
            <a:ext cx="2192321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изкий темп чтения   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464646"/>
                </a:solidFill>
              </a:rPr>
              <a:t>(мин.)</a:t>
            </a:r>
            <a:endParaRPr lang="ru-RU" sz="1000" b="1" dirty="0">
              <a:solidFill>
                <a:srgbClr val="464646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72000" y="1285860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43306" y="3214686"/>
            <a:ext cx="906462" cy="75565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5</a:t>
            </a:r>
            <a:r>
              <a:rPr lang="ru-RU" sz="1400" b="1" dirty="0" smtClean="0">
                <a:solidFill>
                  <a:prstClr val="black"/>
                </a:solidFill>
              </a:rPr>
              <a:t>-7 </a:t>
            </a: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14282" y="3143248"/>
            <a:ext cx="2082800" cy="928694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знание правил 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рфографии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464646"/>
                </a:solidFill>
              </a:rPr>
              <a:t>(мин</a:t>
            </a:r>
            <a:r>
              <a:rPr lang="ru-RU" sz="1000" b="1" dirty="0">
                <a:solidFill>
                  <a:srgbClr val="464646"/>
                </a:solidFill>
              </a:rPr>
              <a:t>.)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2285984" y="3571876"/>
            <a:ext cx="132873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0" y="6500834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4572000" y="6500834"/>
            <a:ext cx="43719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025"/>
            <a:ext cx="9053513" cy="7651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dirty="0">
                <a:solidFill>
                  <a:srgbClr val="464646"/>
                </a:solidFill>
              </a:rPr>
              <a:t>Достигнутые результаты (было и стало) 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43306" y="4983162"/>
            <a:ext cx="831857" cy="803291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-2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20663" y="4841875"/>
            <a:ext cx="2082800" cy="766763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ети путают понятия: «тема», «основная мысль», «заголовок»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464646"/>
                </a:solidFill>
              </a:rPr>
              <a:t>(</a:t>
            </a:r>
            <a:r>
              <a:rPr lang="ru-RU" sz="1000" b="1" dirty="0">
                <a:solidFill>
                  <a:srgbClr val="464646"/>
                </a:solidFill>
              </a:rPr>
              <a:t>мин.)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303463" y="5300663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096250" y="144303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2-3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14876" y="1428736"/>
            <a:ext cx="2389187" cy="912812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lnSpc>
                <a:spcPct val="115000"/>
              </a:lnSpc>
            </a:pPr>
            <a:r>
              <a:rPr lang="ru-RU" sz="900" dirty="0" smtClean="0">
                <a:solidFill>
                  <a:prstClr val="black"/>
                </a:solidFill>
                <a:ea typeface="Calibri"/>
                <a:cs typeface="Times New Roman"/>
              </a:rPr>
              <a:t>Повысился темп чтения</a:t>
            </a: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мин.)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rgbClr val="464646"/>
              </a:solidFill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072462" y="3071810"/>
            <a:ext cx="928694" cy="8572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2-3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.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714876" y="3143248"/>
            <a:ext cx="2297113" cy="928694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lnSpc>
                <a:spcPct val="115000"/>
              </a:lnSpc>
            </a:pPr>
            <a:r>
              <a:rPr lang="ru-RU" sz="900" dirty="0" smtClean="0">
                <a:solidFill>
                  <a:prstClr val="black"/>
                </a:solidFill>
                <a:ea typeface="Calibri"/>
                <a:cs typeface="Times New Roman"/>
              </a:rPr>
              <a:t>Повысилась орфографическая зоркость</a:t>
            </a: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мин.)</a:t>
            </a:r>
            <a:endParaRPr lang="ru-RU" sz="1600" b="1" dirty="0">
              <a:solidFill>
                <a:srgbClr val="464646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7072330" y="3571876"/>
            <a:ext cx="1022350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Блок-схема: узел 52"/>
          <p:cNvSpPr/>
          <p:nvPr/>
        </p:nvSpPr>
        <p:spPr>
          <a:xfrm>
            <a:off x="8143900" y="4929198"/>
            <a:ext cx="860400" cy="76201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0,5-1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4703763" y="4857760"/>
            <a:ext cx="2368567" cy="830253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lnSpc>
                <a:spcPct val="115000"/>
              </a:lnSpc>
            </a:pPr>
            <a:r>
              <a:rPr lang="ru-RU" sz="900" dirty="0" smtClean="0">
                <a:solidFill>
                  <a:prstClr val="black"/>
                </a:solidFill>
                <a:ea typeface="Calibri"/>
                <a:cs typeface="Times New Roman"/>
              </a:rPr>
              <a:t>Структурированы  основные понятия</a:t>
            </a: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50" b="1" dirty="0" smtClean="0">
                <a:solidFill>
                  <a:srgbClr val="464646"/>
                </a:solidFill>
              </a:rPr>
              <a:t>(</a:t>
            </a:r>
            <a:r>
              <a:rPr lang="ru-RU" sz="1550" b="1" dirty="0">
                <a:solidFill>
                  <a:srgbClr val="464646"/>
                </a:solidFill>
              </a:rPr>
              <a:t>мин.)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143768" y="5286388"/>
            <a:ext cx="1011238" cy="7938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/>
          </p:cNvPr>
          <p:cNvSpPr/>
          <p:nvPr/>
        </p:nvSpPr>
        <p:spPr>
          <a:xfrm>
            <a:off x="0" y="476250"/>
            <a:ext cx="9144000" cy="6337300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425"/>
            <a:ext cx="436562" cy="365125"/>
          </a:xfrm>
        </p:spPr>
        <p:txBody>
          <a:bodyPr rtlCol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1</a:t>
            </a:r>
            <a:endParaRPr lang="ru-RU" sz="1400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250825" y="739775"/>
            <a:ext cx="13208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932363" y="649288"/>
            <a:ext cx="12763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38" name="TextBox 31"/>
          <p:cNvSpPr txBox="1">
            <a:spLocks noChangeArrowheads="1"/>
          </p:cNvSpPr>
          <p:nvPr/>
        </p:nvSpPr>
        <p:spPr bwMode="auto">
          <a:xfrm>
            <a:off x="0" y="1000108"/>
            <a:ext cx="42362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000" dirty="0" smtClean="0">
                <a:solidFill>
                  <a:srgbClr val="000000"/>
                </a:solidFill>
                <a:latin typeface="Franklin Gothic Medium" pitchFamily="34" charset="0"/>
              </a:rPr>
              <a:t>Большие временные затраты на комплексный анализ текста</a:t>
            </a:r>
            <a:endParaRPr lang="ru-RU" altLang="ru-RU" sz="1000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39" name="TextBox 31"/>
          <p:cNvSpPr txBox="1">
            <a:spLocks noChangeArrowheads="1"/>
          </p:cNvSpPr>
          <p:nvPr/>
        </p:nvSpPr>
        <p:spPr bwMode="auto">
          <a:xfrm>
            <a:off x="4643438" y="1000108"/>
            <a:ext cx="423624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lvl="0" algn="ctr">
              <a:buNone/>
            </a:pPr>
            <a:r>
              <a:rPr lang="ru-RU" altLang="en-US" sz="1400" dirty="0">
                <a:solidFill>
                  <a:srgbClr val="1F497D"/>
                </a:solidFill>
                <a:latin typeface="Calibri"/>
                <a:cs typeface="Times New Roman" pitchFamily="18" charset="0"/>
              </a:rPr>
              <a:t>Оптимизация системы комплексного анализа текста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2</a:t>
            </a:r>
            <a:r>
              <a:rPr lang="ru-RU" sz="1400" b="1" dirty="0" smtClean="0">
                <a:solidFill>
                  <a:prstClr val="black"/>
                </a:solidFill>
              </a:rPr>
              <a:t> – 3 мин</a:t>
            </a: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500" y="1905000"/>
            <a:ext cx="130968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3662" y="1522413"/>
            <a:ext cx="2192321" cy="1192207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рудности в определении </a:t>
            </a: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ипа,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тиля текста</a:t>
            </a:r>
          </a:p>
          <a:p>
            <a:pPr lvl="0"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</a:t>
            </a:r>
            <a:r>
              <a:rPr lang="ru-RU" sz="1600" b="1" dirty="0">
                <a:solidFill>
                  <a:srgbClr val="464646"/>
                </a:solidFill>
              </a:rPr>
              <a:t>мин.)</a:t>
            </a:r>
          </a:p>
          <a:p>
            <a:pPr lvl="0" algn="ctr">
              <a:lnSpc>
                <a:spcPct val="115000"/>
              </a:lnSpc>
            </a:pP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72000" y="1285860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585744" y="4156798"/>
            <a:ext cx="906462" cy="75565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6-8 мин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14282" y="4070276"/>
            <a:ext cx="2082800" cy="928694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ложности в разграничении  простого  предложения с однородными сказуемыми и СП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464646"/>
                </a:solidFill>
              </a:rPr>
              <a:t>(мин</a:t>
            </a:r>
            <a:r>
              <a:rPr lang="ru-RU" sz="1000" b="1" dirty="0">
                <a:solidFill>
                  <a:srgbClr val="464646"/>
                </a:solidFill>
              </a:rPr>
              <a:t>.)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2329625" y="4534623"/>
            <a:ext cx="132873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42844" y="2857496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27401" y="5805264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4458411" y="5805264"/>
            <a:ext cx="43719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025"/>
            <a:ext cx="9053513" cy="7651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dirty="0">
                <a:solidFill>
                  <a:srgbClr val="464646"/>
                </a:solidFill>
              </a:rPr>
              <a:t>Достигнутые результаты (было и стало) 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46" name="Блок-схема: узел 45"/>
          <p:cNvSpPr/>
          <p:nvPr/>
        </p:nvSpPr>
        <p:spPr>
          <a:xfrm>
            <a:off x="8096250" y="144303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-2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14876" y="1428736"/>
            <a:ext cx="2389187" cy="1214446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lnSpc>
                <a:spcPct val="115000"/>
              </a:lnSpc>
            </a:pPr>
            <a:r>
              <a:rPr lang="ru-RU" sz="1600" b="1" dirty="0">
                <a:solidFill>
                  <a:srgbClr val="464646"/>
                </a:solidFill>
              </a:rPr>
              <a:t> </a:t>
            </a:r>
            <a:r>
              <a:rPr lang="ru-RU" sz="1100" dirty="0" smtClean="0">
                <a:solidFill>
                  <a:srgbClr val="000000"/>
                </a:solidFill>
                <a:latin typeface="Franklin Gothic Book"/>
                <a:cs typeface="Times New Roman"/>
              </a:rPr>
              <a:t>Ускорилось определение типа, стиля текста</a:t>
            </a:r>
            <a:endParaRPr lang="ru-RU" sz="1100" dirty="0">
              <a:solidFill>
                <a:srgbClr val="000000"/>
              </a:solidFill>
              <a:latin typeface="Franklin Gothic Book"/>
              <a:ea typeface="Calibri"/>
              <a:cs typeface="Times New Roman"/>
            </a:endParaRPr>
          </a:p>
          <a:p>
            <a:pPr lvl="0"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</a:t>
            </a:r>
            <a:r>
              <a:rPr lang="ru-RU" sz="1600" b="1" dirty="0">
                <a:solidFill>
                  <a:srgbClr val="464646"/>
                </a:solidFill>
              </a:rPr>
              <a:t>мин.)</a:t>
            </a:r>
          </a:p>
          <a:p>
            <a:pPr lvl="0" algn="ctr">
              <a:lnSpc>
                <a:spcPct val="115000"/>
              </a:lnSpc>
            </a:pP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rgbClr val="464646"/>
              </a:solidFill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500562" y="2857496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096250" y="4033077"/>
            <a:ext cx="928694" cy="8572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3-4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.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714876" y="3871930"/>
            <a:ext cx="2297113" cy="1127040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sz="1100" dirty="0" smtClean="0">
              <a:solidFill>
                <a:srgbClr val="000000"/>
              </a:solidFill>
              <a:latin typeface="Franklin Gothic Book"/>
              <a:ea typeface="Calibri"/>
              <a:cs typeface="Times New Roman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srgbClr val="000000"/>
                </a:solidFill>
                <a:latin typeface="Franklin Gothic Book"/>
                <a:ea typeface="Calibri"/>
                <a:cs typeface="Times New Roman"/>
              </a:rPr>
              <a:t>Уменьшились </a:t>
            </a:r>
            <a:r>
              <a:rPr lang="ru-RU" sz="1100" dirty="0" err="1" smtClean="0">
                <a:solidFill>
                  <a:srgbClr val="000000"/>
                </a:solidFill>
                <a:latin typeface="Franklin Gothic Book"/>
                <a:ea typeface="Calibri"/>
                <a:cs typeface="Times New Roman"/>
              </a:rPr>
              <a:t>сложности</a:t>
            </a:r>
            <a:r>
              <a:rPr lang="ru-RU" altLang="ru-RU" sz="1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altLang="ru-RU" sz="1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разграничении  простого  предложения с однородными сказуемыми и СП</a:t>
            </a:r>
          </a:p>
          <a:p>
            <a:pPr lvl="0" algn="ctr">
              <a:lnSpc>
                <a:spcPct val="115000"/>
              </a:lnSpc>
            </a:pPr>
            <a:r>
              <a:rPr lang="ru-RU" sz="1100" dirty="0" smtClean="0">
                <a:solidFill>
                  <a:srgbClr val="000000"/>
                </a:solidFill>
                <a:latin typeface="Franklin Gothic Book"/>
                <a:ea typeface="Calibri"/>
                <a:cs typeface="Times New Roman"/>
              </a:rPr>
              <a:t> </a:t>
            </a:r>
            <a:endParaRPr lang="ru-RU" sz="1100" dirty="0">
              <a:solidFill>
                <a:srgbClr val="000000"/>
              </a:solidFill>
              <a:latin typeface="Franklin Gothic Book"/>
              <a:ea typeface="Calibri"/>
              <a:cs typeface="Times New Roman"/>
            </a:endParaRPr>
          </a:p>
          <a:p>
            <a:pPr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мин.)</a:t>
            </a:r>
            <a:endParaRPr lang="ru-RU" sz="1600" b="1" dirty="0">
              <a:solidFill>
                <a:srgbClr val="464646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7104063" y="4461705"/>
            <a:ext cx="1022350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/>
          </p:cNvPr>
          <p:cNvSpPr/>
          <p:nvPr/>
        </p:nvSpPr>
        <p:spPr>
          <a:xfrm>
            <a:off x="0" y="476250"/>
            <a:ext cx="9144000" cy="6337300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425"/>
            <a:ext cx="436562" cy="365125"/>
          </a:xfrm>
        </p:spPr>
        <p:txBody>
          <a:bodyPr rtlCol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t>12</a:t>
            </a:r>
            <a:endParaRPr lang="ru-RU" sz="1400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250825" y="739775"/>
            <a:ext cx="13208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932363" y="649288"/>
            <a:ext cx="12763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7" name="TextBox 31"/>
          <p:cNvSpPr txBox="1">
            <a:spLocks noChangeArrowheads="1"/>
          </p:cNvSpPr>
          <p:nvPr/>
        </p:nvSpPr>
        <p:spPr bwMode="auto">
          <a:xfrm>
            <a:off x="0" y="1000108"/>
            <a:ext cx="42362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lvl="0" algn="ctr" eaLnBrk="1" hangingPunct="1">
              <a:spcBef>
                <a:spcPct val="0"/>
              </a:spcBef>
              <a:buClrTx/>
              <a:buSzTx/>
              <a:buNone/>
            </a:pPr>
            <a:r>
              <a:rPr lang="ru-RU" altLang="ru-RU" sz="1000" dirty="0">
                <a:solidFill>
                  <a:srgbClr val="000000"/>
                </a:solidFill>
                <a:latin typeface="Franklin Gothic Medium" pitchFamily="34" charset="0"/>
              </a:rPr>
              <a:t>Большие временные затраты на комплексный анализ текста</a:t>
            </a:r>
          </a:p>
        </p:txBody>
      </p:sp>
      <p:sp>
        <p:nvSpPr>
          <p:cNvPr id="28" name="TextBox 31"/>
          <p:cNvSpPr txBox="1">
            <a:spLocks noChangeArrowheads="1"/>
          </p:cNvSpPr>
          <p:nvPr/>
        </p:nvSpPr>
        <p:spPr bwMode="auto">
          <a:xfrm>
            <a:off x="4780929" y="1000108"/>
            <a:ext cx="423624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lvl="0" algn="ctr" eaLnBrk="1" hangingPunct="1">
              <a:spcBef>
                <a:spcPts val="0"/>
              </a:spcBef>
              <a:buClrTx/>
              <a:buSzTx/>
              <a:buNone/>
            </a:pPr>
            <a:r>
              <a:rPr lang="ru-RU" altLang="en-US" sz="1400" dirty="0">
                <a:solidFill>
                  <a:srgbClr val="1F497D"/>
                </a:solidFill>
                <a:latin typeface="Calibri"/>
                <a:cs typeface="Times New Roman" pitchFamily="18" charset="0"/>
              </a:rPr>
              <a:t>Оптимизация системы комплексного анализа текста</a:t>
            </a: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01015F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58797" y="1507030"/>
            <a:ext cx="36004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latin typeface="Arial Narrow" panose="020B0606020202030204" pitchFamily="34" charset="0"/>
                <a:cs typeface="Times New Roman" pitchFamily="18" charset="0"/>
              </a:rPr>
              <a:t>ЭФФЕКТ</a:t>
            </a:r>
            <a:r>
              <a:rPr lang="ru-RU" altLang="ru-RU" b="1" dirty="0">
                <a:latin typeface="Arial Narrow" panose="020B0606020202030204" pitchFamily="34" charset="0"/>
                <a:cs typeface="Times New Roman" pitchFamily="18" charset="0"/>
              </a:rPr>
              <a:t> </a:t>
            </a:r>
            <a:endParaRPr lang="ru-RU" altLang="ru-RU" b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tx2"/>
                </a:solidFill>
              </a:rPr>
              <a:t>Сокращение временных потерь;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solidFill>
                <a:srgbClr val="01015F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solidFill>
                <a:srgbClr val="01015F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/>
            <a:r>
              <a:rPr lang="ru-RU" altLang="en-US" sz="1400" dirty="0">
                <a:solidFill>
                  <a:srgbClr val="1F497D"/>
                </a:solidFill>
                <a:cs typeface="Times New Roman" pitchFamily="18" charset="0"/>
              </a:rPr>
              <a:t>Оптимизация системы комплексного анализа </a:t>
            </a:r>
            <a:r>
              <a:rPr lang="ru-RU" altLang="en-US" sz="1400" dirty="0" smtClean="0">
                <a:solidFill>
                  <a:srgbClr val="1F497D"/>
                </a:solidFill>
                <a:cs typeface="Times New Roman" pitchFamily="18" charset="0"/>
              </a:rPr>
              <a:t>текста</a:t>
            </a:r>
            <a:r>
              <a:rPr lang="ru-RU" dirty="0" smtClean="0">
                <a:solidFill>
                  <a:srgbClr val="01015F"/>
                </a:solidFill>
              </a:rPr>
              <a:t>.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1899" y="1998132"/>
            <a:ext cx="648072" cy="432048"/>
          </a:xfrm>
          <a:prstGeom prst="downArrow">
            <a:avLst/>
          </a:prstGeom>
          <a:solidFill>
            <a:schemeClr val="accent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579199" y="3044752"/>
            <a:ext cx="648072" cy="432048"/>
          </a:xfrm>
          <a:prstGeom prst="downArrow">
            <a:avLst/>
          </a:prstGeom>
          <a:solidFill>
            <a:schemeClr val="accent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412776"/>
            <a:ext cx="1584176" cy="129614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403648" y="1628800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-31%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03648" y="3563724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17 мин.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>
                <a:latin typeface="Arial Narrow" panose="020B0606020202030204" pitchFamily="34" charset="0"/>
              </a:rPr>
              <a:t>t</a:t>
            </a:r>
            <a:r>
              <a:rPr lang="ru-RU" i="1" dirty="0" smtClean="0">
                <a:latin typeface="Arial Narrow" panose="020B0606020202030204" pitchFamily="34" charset="0"/>
              </a:rPr>
              <a:t> протекания процесса</a:t>
            </a:r>
            <a:endParaRPr lang="ru-RU" i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260649"/>
            <a:ext cx="8648700" cy="792087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latin typeface="Times New Roman" panose="02020603050405020304" pitchFamily="18" charset="0"/>
                <a:cs typeface="Times New Roman" pitchFamily="18" charset="0"/>
              </a:rPr>
              <a:t>Паспорт проекта 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лексного анализа текста </a:t>
            </a:r>
            <a:b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5-6 классах»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2" y="1071547"/>
            <a:ext cx="8624917" cy="174093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06513" y="2888709"/>
            <a:ext cx="8608547" cy="1560563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 комплексного анализа текста является трудоёмким и  продолжительным, зачастую занимает по времени более, чем урок. Необходимость совершенствования данного процесса продиктована желанием повысить качество работы с текстом, а также сократить продолжительность процесса.</a:t>
            </a:r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60350" y="1309688"/>
            <a:ext cx="177003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54000" y="4462391"/>
            <a:ext cx="8600020" cy="895436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323528" y="2894625"/>
            <a:ext cx="25753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</a:rPr>
              <a:t>Обоснование выбора процесса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312444" y="4462390"/>
            <a:ext cx="15247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29" y="1071546"/>
            <a:ext cx="4689227" cy="138499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Наименование органа местного  самоуправления</a:t>
            </a:r>
            <a:r>
              <a:rPr lang="ru-RU" sz="1200" dirty="0" smtClean="0">
                <a:solidFill>
                  <a:schemeClr val="tx2"/>
                </a:solidFill>
              </a:rPr>
              <a:t>: МКУ «Управление образования </a:t>
            </a:r>
            <a:r>
              <a:rPr lang="ru-RU" sz="1200" dirty="0" err="1" smtClean="0">
                <a:solidFill>
                  <a:schemeClr val="tx2"/>
                </a:solidFill>
              </a:rPr>
              <a:t>Шебекинского</a:t>
            </a:r>
            <a:r>
              <a:rPr lang="ru-RU" sz="1200" dirty="0" smtClean="0">
                <a:solidFill>
                  <a:schemeClr val="tx2"/>
                </a:solidFill>
              </a:rPr>
              <a:t> городского округа».</a:t>
            </a:r>
          </a:p>
          <a:p>
            <a:pPr lvl="0"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Наименование отдела</a:t>
            </a:r>
            <a:r>
              <a:rPr lang="ru-RU" sz="1200" dirty="0" smtClean="0">
                <a:solidFill>
                  <a:schemeClr val="tx2"/>
                </a:solidFill>
              </a:rPr>
              <a:t>: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ГБОУ «</a:t>
            </a:r>
            <a:r>
              <a:rPr lang="ru-RU" sz="12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ебекинская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ОШ с УИОП», </a:t>
            </a:r>
            <a:r>
              <a:rPr lang="ru-RU" sz="12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</a:pPr>
            <a:r>
              <a:rPr lang="ru-RU" sz="1200" b="1" dirty="0" smtClean="0">
                <a:solidFill>
                  <a:schemeClr val="tx2"/>
                </a:solidFill>
              </a:rPr>
              <a:t>Границы процесса: </a:t>
            </a:r>
            <a:r>
              <a:rPr lang="ru-RU" sz="1100" dirty="0" smtClean="0">
                <a:solidFill>
                  <a:schemeClr val="tx2"/>
                </a:solidFill>
                <a:cs typeface="Times New Roman" pitchFamily="18" charset="0"/>
              </a:rPr>
              <a:t>от чтения текста до выполнения разборов 1,2,3,4</a:t>
            </a:r>
            <a:endParaRPr lang="ru-RU" altLang="en-US" sz="1100" dirty="0">
              <a:solidFill>
                <a:schemeClr val="tx2"/>
              </a:solidFill>
              <a:ea typeface="Franklin Gothic Book" pitchFamily="34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Дата начала  проекта:   </a:t>
            </a:r>
            <a:r>
              <a:rPr lang="ru-RU" sz="1200" dirty="0" smtClean="0">
                <a:solidFill>
                  <a:schemeClr val="tx2"/>
                </a:solidFill>
              </a:rPr>
              <a:t>01.03.2021 г.</a:t>
            </a:r>
          </a:p>
          <a:p>
            <a:pPr algn="just"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Дата окончания проекта: </a:t>
            </a:r>
            <a:r>
              <a:rPr lang="ru-RU" sz="1200" dirty="0" smtClean="0">
                <a:solidFill>
                  <a:schemeClr val="tx2"/>
                </a:solidFill>
              </a:rPr>
              <a:t>31.05.2021г.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9634" y="4372588"/>
            <a:ext cx="8042304" cy="11695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34925" lvl="0"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srgbClr val="002060"/>
              </a:solidFill>
            </a:endParaRPr>
          </a:p>
          <a:p>
            <a:pPr marL="34925"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1015F"/>
                </a:solidFill>
              </a:rPr>
              <a:t>           </a:t>
            </a:r>
          </a:p>
          <a:p>
            <a:pPr marL="34925"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1015F"/>
                </a:solidFill>
              </a:rPr>
              <a:t> 1. </a:t>
            </a:r>
            <a:r>
              <a:rPr lang="ru-RU" altLang="ru-RU" sz="1400" dirty="0" smtClean="0">
                <a:solidFill>
                  <a:schemeClr val="tx2"/>
                </a:solidFill>
                <a:ea typeface="Franklin Gothic Book" pitchFamily="34" charset="0"/>
                <a:cs typeface="Times New Roman" pitchFamily="18" charset="0"/>
              </a:rPr>
              <a:t>Сокращение длительности процесса комплексного анализа текста с 39-54 до 29.5 -37 </a:t>
            </a:r>
          </a:p>
          <a:p>
            <a:pPr marL="34925"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solidFill>
                  <a:schemeClr val="tx2"/>
                </a:solidFill>
                <a:ea typeface="Franklin Gothic Book" pitchFamily="34" charset="0"/>
                <a:cs typeface="Times New Roman" pitchFamily="18" charset="0"/>
              </a:rPr>
              <a:t> .</a:t>
            </a:r>
          </a:p>
          <a:p>
            <a:pPr lvl="0" algn="just"/>
            <a:r>
              <a:rPr lang="ru-RU" sz="1400" dirty="0" smtClean="0">
                <a:solidFill>
                  <a:srgbClr val="01015F"/>
                </a:solidFill>
              </a:rPr>
              <a:t>.</a:t>
            </a:r>
            <a:endParaRPr lang="ru-RU" sz="1400" dirty="0">
              <a:solidFill>
                <a:srgbClr val="01015F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06513" y="5429264"/>
            <a:ext cx="8647507" cy="116808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755576" y="5550874"/>
            <a:ext cx="180020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  <a:latin typeface="+mn-lt"/>
              </a:rPr>
              <a:t>Эффекты  </a:t>
            </a:r>
            <a:r>
              <a:rPr lang="ru-RU" sz="1400" dirty="0">
                <a:solidFill>
                  <a:srgbClr val="FF0000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98008" y="5550873"/>
            <a:ext cx="7718323" cy="801758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                                 </a:t>
            </a:r>
          </a:p>
          <a:p>
            <a:pPr lvl="0" algn="just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altLang="en-US" sz="1400" dirty="0" smtClean="0">
                <a:solidFill>
                  <a:schemeClr val="tx2"/>
                </a:solidFill>
                <a:cs typeface="Times New Roman" pitchFamily="18" charset="0"/>
              </a:rPr>
              <a:t>Сокращение временных потерь;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400" dirty="0" smtClean="0">
                <a:solidFill>
                  <a:schemeClr val="tx2"/>
                </a:solidFill>
                <a:cs typeface="Times New Roman" pitchFamily="18" charset="0"/>
              </a:rPr>
              <a:t>2. Оптимизация системы комплексного анализа текста. </a:t>
            </a:r>
            <a:endParaRPr lang="ru-RU" altLang="en-US" sz="1400" dirty="0">
              <a:solidFill>
                <a:schemeClr val="tx2"/>
              </a:solidFill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98009" y="1668809"/>
            <a:ext cx="1409696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7158401" y="1494141"/>
            <a:ext cx="1373637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b="1" smtClean="0">
                <a:solidFill>
                  <a:schemeClr val="tx1"/>
                </a:solidFill>
              </a:rPr>
              <a:pPr/>
              <a:t>2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/>
            </a:extLst>
          </p:cNvPr>
          <p:cNvSpPr txBox="1"/>
          <p:nvPr/>
        </p:nvSpPr>
        <p:spPr>
          <a:xfrm>
            <a:off x="283415" y="4464923"/>
            <a:ext cx="145189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</a:rPr>
              <a:t>Цель проекта</a:t>
            </a:r>
            <a:endParaRPr lang="ru-RU" sz="1400" dirty="0">
              <a:solidFill>
                <a:srgbClr val="FF0000"/>
              </a:solidFill>
            </a:endParaRPr>
          </a:p>
        </p:txBody>
      </p:sp>
      <p:pic>
        <p:nvPicPr>
          <p:cNvPr id="33796" name="Picture 4" descr="C:\Users\User\Desktop\зам по МР\опорная площадка\КЕЙС СОШ 1\IMG_597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89" y="1600339"/>
            <a:ext cx="1408516" cy="99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8400" y="1494141"/>
            <a:ext cx="1373637" cy="1202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0330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64516" y="3930316"/>
            <a:ext cx="8621712" cy="27574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14282" y="1000108"/>
            <a:ext cx="8637588" cy="27169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17500" y="1306513"/>
            <a:ext cx="1644650" cy="5847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FF0000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23850" y="3989388"/>
            <a:ext cx="201234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01015F"/>
                </a:solidFill>
                <a:latin typeface="Times New Roman" pitchFamily="18" charset="0"/>
                <a:cs typeface="Times New Roman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863315" y="3366282"/>
            <a:ext cx="1822994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Вялова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Ирина Анатольевн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директор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857488" y="1142984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b="1" kern="0" dirty="0" smtClean="0">
                <a:solidFill>
                  <a:srgbClr val="01015F"/>
                </a:solidFill>
              </a:rPr>
              <a:t>Заказчик проекта</a:t>
            </a:r>
            <a:endParaRPr lang="en-US" altLang="ru-RU" sz="1000" b="1" kern="0" dirty="0" smtClean="0">
              <a:solidFill>
                <a:srgbClr val="01015F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500694" y="3357562"/>
            <a:ext cx="236200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1015F"/>
                </a:solidFill>
              </a:rPr>
              <a:t>Пронина Светлана Васильевн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>
                <a:solidFill>
                  <a:srgbClr val="01015F"/>
                </a:solidFill>
              </a:rPr>
              <a:t>з</a:t>
            </a:r>
            <a:r>
              <a:rPr lang="ru-RU" altLang="ru-RU" sz="1000" b="1" kern="0" dirty="0" smtClean="0">
                <a:solidFill>
                  <a:srgbClr val="01015F"/>
                </a:solidFill>
              </a:rPr>
              <a:t>аместитель директора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357818" y="1142984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b="1" kern="0" dirty="0" smtClean="0">
                <a:solidFill>
                  <a:srgbClr val="01015F"/>
                </a:solidFill>
              </a:rPr>
              <a:t>Руководитель проекта</a:t>
            </a:r>
            <a:endParaRPr lang="en-US" altLang="ru-RU" sz="1000" b="1" kern="0" dirty="0" smtClean="0">
              <a:solidFill>
                <a:srgbClr val="01015F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3698070" y="6072205"/>
            <a:ext cx="145772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Гершен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</a:t>
            </a:r>
            <a:r>
              <a:rPr lang="ru-RU" altLang="ru-RU" sz="1000" b="1" kern="0" dirty="0" err="1" smtClean="0">
                <a:solidFill>
                  <a:srgbClr val="00295C"/>
                </a:solidFill>
              </a:rPr>
              <a:t>Ллюдмила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Анатольевна</a:t>
            </a:r>
            <a:endParaRPr lang="ru-RU" altLang="ru-RU" sz="1000" b="1" kern="0" dirty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b="1" smtClean="0">
                <a:solidFill>
                  <a:schemeClr val="tx1"/>
                </a:solidFill>
              </a:rPr>
              <a:pPr/>
              <a:t>3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pic>
        <p:nvPicPr>
          <p:cNvPr id="33794" name="Picture 2" descr="C:\Users\User\Desktop\зам по МР\опорная площадка\НОВЫЕ ПРОЕКТЫ 2020 год\НОВЫЕ ПРОЕКТЫ 2020 год\КЕЙСЫ НоВЫХ ПРОЕКТОВ\ира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0763" y="1391452"/>
            <a:ext cx="1351737" cy="177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5" name="Picture 3" descr="C:\Users\User\Desktop\зам по МР\опорная площадка\НОВЫЕ ПРОЕКТЫ 2020 год\НОВЫЕ ПРОЕКТЫ 2020 год\КЕЙСЫ НоВЫХ ПРОЕКТОВ\IMG_477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889" y="1387927"/>
            <a:ext cx="1277612" cy="1757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1343" y="4437112"/>
            <a:ext cx="1051175" cy="1408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5459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Заголовок 1"/>
          <p:cNvSpPr txBox="1">
            <a:spLocks/>
          </p:cNvSpPr>
          <p:nvPr/>
        </p:nvSpPr>
        <p:spPr>
          <a:xfrm>
            <a:off x="571500" y="285750"/>
            <a:ext cx="8229600" cy="295275"/>
          </a:xfrm>
          <a:prstGeom prst="rect">
            <a:avLst/>
          </a:prstGeom>
        </p:spPr>
        <p:txBody>
          <a:bodyPr lIns="0" rIns="0" bIns="0" anchor="b"/>
          <a:lstStyle/>
          <a:p>
            <a:pPr algn="ctr">
              <a:spcBef>
                <a:spcPct val="0"/>
              </a:spcBef>
              <a:defRPr/>
            </a:pPr>
            <a:endParaRPr lang="ru-RU" sz="2000" b="1" dirty="0">
              <a:solidFill>
                <a:srgbClr val="4E5B6F"/>
              </a:solidFill>
              <a:latin typeface="Franklin Gothic Medium"/>
              <a:cs typeface="Arial" charset="0"/>
            </a:endParaRP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468313" y="1844675"/>
          <a:ext cx="1327150" cy="936625"/>
        </p:xfrm>
        <a:graphic>
          <a:graphicData uri="http://schemas.openxmlformats.org/drawingml/2006/table">
            <a:tbl>
              <a:tblPr/>
              <a:tblGrid>
                <a:gridCol w="1327150"/>
              </a:tblGrid>
              <a:tr h="282285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908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Чтение текста 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351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4 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/>
        </p:nvGraphicFramePr>
        <p:xfrm>
          <a:off x="2347913" y="1789113"/>
          <a:ext cx="1298575" cy="1166813"/>
        </p:xfrm>
        <a:graphic>
          <a:graphicData uri="http://schemas.openxmlformats.org/drawingml/2006/table">
            <a:tbl>
              <a:tblPr/>
              <a:tblGrid>
                <a:gridCol w="1298575"/>
              </a:tblGrid>
              <a:tr h="2743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дети </a:t>
                      </a:r>
                    </a:p>
                    <a:p>
                      <a:pPr algn="ctr"/>
                      <a:endParaRPr lang="ru-RU" altLang="en-US" sz="900" b="0" i="0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307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 вставить пропущенные буквы.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17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5-7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2" name="Таблица 61"/>
          <p:cNvGraphicFramePr>
            <a:graphicFrameLocks noGrp="1"/>
          </p:cNvGraphicFramePr>
          <p:nvPr/>
        </p:nvGraphicFramePr>
        <p:xfrm>
          <a:off x="4427538" y="1773238"/>
          <a:ext cx="1223962" cy="981076"/>
        </p:xfrm>
        <a:graphic>
          <a:graphicData uri="http://schemas.openxmlformats.org/drawingml/2006/table">
            <a:tbl>
              <a:tblPr/>
              <a:tblGrid>
                <a:gridCol w="1223962"/>
              </a:tblGrid>
              <a:tr h="3154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дети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en-US" sz="900" b="0" i="0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855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 определение ключевых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слов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800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4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 </a:t>
                      </a: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6516688" y="1773238"/>
          <a:ext cx="1233487" cy="990616"/>
        </p:xfrm>
        <a:graphic>
          <a:graphicData uri="http://schemas.openxmlformats.org/drawingml/2006/table">
            <a:tbl>
              <a:tblPr/>
              <a:tblGrid>
                <a:gridCol w="1233487"/>
              </a:tblGrid>
              <a:tr h="3154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596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Определение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темы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154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1" baseline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0,5 - 1 минута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7" name="Таблица 86"/>
          <p:cNvGraphicFramePr>
            <a:graphicFrameLocks noGrp="1"/>
          </p:cNvGraphicFramePr>
          <p:nvPr/>
        </p:nvGraphicFramePr>
        <p:xfrm>
          <a:off x="2987675" y="3500438"/>
          <a:ext cx="1147763" cy="1044576"/>
        </p:xfrm>
        <a:graphic>
          <a:graphicData uri="http://schemas.openxmlformats.org/drawingml/2006/table">
            <a:tbl>
              <a:tblPr/>
              <a:tblGrid>
                <a:gridCol w="1147763"/>
              </a:tblGrid>
              <a:tr h="3154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73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Озаглавить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текст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60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0,5 -1 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/>
        </p:nvGraphicFramePr>
        <p:xfrm>
          <a:off x="4932363" y="3500438"/>
          <a:ext cx="1223962" cy="993775"/>
        </p:xfrm>
        <a:graphic>
          <a:graphicData uri="http://schemas.openxmlformats.org/drawingml/2006/table">
            <a:tbl>
              <a:tblPr/>
              <a:tblGrid>
                <a:gridCol w="1223962"/>
              </a:tblGrid>
              <a:tr h="3154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617" marR="686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0115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Определить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тип текста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7" marR="686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771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0,5-1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17" marR="686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3" name="Пятно 1 52"/>
          <p:cNvSpPr/>
          <p:nvPr/>
        </p:nvSpPr>
        <p:spPr>
          <a:xfrm>
            <a:off x="5652120" y="2780928"/>
            <a:ext cx="2016224" cy="1152128"/>
          </a:xfrm>
          <a:prstGeom prst="irregularSeal1">
            <a:avLst/>
          </a:prstGeom>
          <a:solidFill>
            <a:srgbClr val="FF33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ts val="96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b="1" dirty="0">
                <a:solidFill>
                  <a:prstClr val="black"/>
                </a:solidFill>
              </a:rPr>
              <a:t>Трудности в определении типа, стиля текста</a:t>
            </a:r>
          </a:p>
        </p:txBody>
      </p:sp>
      <p:sp>
        <p:nvSpPr>
          <p:cNvPr id="88" name="Пятно 1 87"/>
          <p:cNvSpPr/>
          <p:nvPr/>
        </p:nvSpPr>
        <p:spPr>
          <a:xfrm>
            <a:off x="827584" y="2636912"/>
            <a:ext cx="2232248" cy="1152128"/>
          </a:xfrm>
          <a:prstGeom prst="irregularSeal1">
            <a:avLst/>
          </a:prstGeom>
          <a:solidFill>
            <a:srgbClr val="FF33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prstClr val="black"/>
                </a:solidFill>
              </a:rPr>
              <a:t> путаница в определении понятий: «Тема», основная мысль», «заголовок»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1892300" y="2214563"/>
            <a:ext cx="376238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3786188" y="2214563"/>
            <a:ext cx="569912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2268538" y="3789363"/>
            <a:ext cx="638175" cy="433387"/>
          </a:xfrm>
          <a:prstGeom prst="rightArrow">
            <a:avLst>
              <a:gd name="adj1" fmla="val 50000"/>
              <a:gd name="adj2" fmla="val 43011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4356100" y="3860800"/>
            <a:ext cx="546100" cy="373063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8" name="Стрелка вправо 37"/>
          <p:cNvSpPr/>
          <p:nvPr/>
        </p:nvSpPr>
        <p:spPr>
          <a:xfrm>
            <a:off x="6372225" y="3933825"/>
            <a:ext cx="647700" cy="288925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/>
        </p:nvGraphicFramePr>
        <p:xfrm>
          <a:off x="677863" y="5270500"/>
          <a:ext cx="1214437" cy="1071563"/>
        </p:xfrm>
        <a:graphic>
          <a:graphicData uri="http://schemas.openxmlformats.org/drawingml/2006/table">
            <a:tbl>
              <a:tblPr/>
              <a:tblGrid>
                <a:gridCol w="1214437"/>
              </a:tblGrid>
              <a:tr h="17318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64" marR="686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7251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Определение  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микротем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  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и  составление плана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64" marR="686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7318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5  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64" marR="686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1" name="Таблица 40"/>
          <p:cNvGraphicFramePr>
            <a:graphicFrameLocks noGrp="1"/>
          </p:cNvGraphicFramePr>
          <p:nvPr/>
        </p:nvGraphicFramePr>
        <p:xfrm>
          <a:off x="6948488" y="3500438"/>
          <a:ext cx="1368425" cy="1028700"/>
        </p:xfrm>
        <a:graphic>
          <a:graphicData uri="http://schemas.openxmlformats.org/drawingml/2006/table">
            <a:tbl>
              <a:tblPr/>
              <a:tblGrid>
                <a:gridCol w="1368425"/>
              </a:tblGrid>
              <a:tr h="36019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145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Определить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стиль  текста</a:t>
                      </a: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97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0,5-1-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6" name="Прямоугольник 35"/>
          <p:cNvSpPr/>
          <p:nvPr/>
        </p:nvSpPr>
        <p:spPr>
          <a:xfrm rot="16200000">
            <a:off x="-316695" y="2089511"/>
            <a:ext cx="109505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50" name="Заголовок 1"/>
          <p:cNvSpPr txBox="1">
            <a:spLocks/>
          </p:cNvSpPr>
          <p:nvPr/>
        </p:nvSpPr>
        <p:spPr>
          <a:xfrm>
            <a:off x="142875" y="285750"/>
            <a:ext cx="8686800" cy="78581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prstClr val="black"/>
                </a:solidFill>
              </a:rPr>
              <a:t>Введение в предметную область</a:t>
            </a:r>
            <a:br>
              <a:rPr lang="ru-RU" sz="2000" b="1" dirty="0" smtClean="0">
                <a:solidFill>
                  <a:prstClr val="black"/>
                </a:solidFill>
              </a:rPr>
            </a:br>
            <a:r>
              <a:rPr lang="ru-RU" sz="2000" b="1" dirty="0" smtClean="0">
                <a:solidFill>
                  <a:prstClr val="black"/>
                </a:solidFill>
              </a:rPr>
              <a:t>(описание ситуации «как есть»)</a:t>
            </a:r>
            <a:r>
              <a:rPr lang="ru-RU" sz="3000" b="1" dirty="0" smtClean="0">
                <a:solidFill>
                  <a:prstClr val="black"/>
                </a:solidFill>
              </a:rPr>
              <a:t/>
            </a:r>
            <a:br>
              <a:rPr lang="ru-RU" sz="3000" b="1" dirty="0" smtClean="0">
                <a:solidFill>
                  <a:prstClr val="black"/>
                </a:solidFill>
              </a:rPr>
            </a:br>
            <a:endParaRPr lang="ru-RU" sz="3000" b="1" dirty="0" smtClean="0">
              <a:solidFill>
                <a:prstClr val="black"/>
              </a:solidFill>
            </a:endParaRPr>
          </a:p>
        </p:txBody>
      </p:sp>
      <p:sp>
        <p:nvSpPr>
          <p:cNvPr id="29802" name="Прямоугольник 51"/>
          <p:cNvSpPr>
            <a:spLocks noChangeArrowheads="1"/>
          </p:cNvSpPr>
          <p:nvPr/>
        </p:nvSpPr>
        <p:spPr bwMode="auto">
          <a:xfrm>
            <a:off x="4787900" y="260350"/>
            <a:ext cx="3902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800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  <a:t>Карта текущего состояния процесса</a:t>
            </a:r>
            <a:endParaRPr lang="ru-RU" altLang="ru-RU" sz="180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44" name="Пятно 1 43"/>
          <p:cNvSpPr/>
          <p:nvPr/>
        </p:nvSpPr>
        <p:spPr>
          <a:xfrm>
            <a:off x="2411760" y="764704"/>
            <a:ext cx="1512168" cy="1152128"/>
          </a:xfrm>
          <a:prstGeom prst="irregularSeal1">
            <a:avLst/>
          </a:prstGeom>
          <a:solidFill>
            <a:srgbClr val="FF33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black"/>
                </a:solidFill>
              </a:rPr>
              <a:t> незнание правил орфографии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5795963" y="2205038"/>
            <a:ext cx="647700" cy="287337"/>
          </a:xfrm>
          <a:prstGeom prst="rightArrow">
            <a:avLst>
              <a:gd name="adj1" fmla="val 50000"/>
              <a:gd name="adj2" fmla="val 4394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9" name="Стрелка вправо 48"/>
          <p:cNvSpPr/>
          <p:nvPr/>
        </p:nvSpPr>
        <p:spPr>
          <a:xfrm>
            <a:off x="7956550" y="2133600"/>
            <a:ext cx="719138" cy="338138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611188" y="3573463"/>
          <a:ext cx="1166812" cy="1041400"/>
        </p:xfrm>
        <a:graphic>
          <a:graphicData uri="http://schemas.openxmlformats.org/drawingml/2006/table">
            <a:tbl>
              <a:tblPr/>
              <a:tblGrid>
                <a:gridCol w="1166812"/>
              </a:tblGrid>
              <a:tr h="3156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03" marR="6850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706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Определение основной 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 мысли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03" marR="6850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51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1-3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03" marR="6850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2" name="Стрелка вправо 51"/>
          <p:cNvSpPr/>
          <p:nvPr/>
        </p:nvSpPr>
        <p:spPr>
          <a:xfrm>
            <a:off x="8378825" y="3860800"/>
            <a:ext cx="514350" cy="373063"/>
          </a:xfrm>
          <a:prstGeom prst="rightArrow">
            <a:avLst>
              <a:gd name="adj1" fmla="val 50000"/>
              <a:gd name="adj2" fmla="val 5281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5" name="Стрелка вправо 54"/>
          <p:cNvSpPr/>
          <p:nvPr/>
        </p:nvSpPr>
        <p:spPr>
          <a:xfrm>
            <a:off x="142875" y="5516563"/>
            <a:ext cx="461963" cy="412750"/>
          </a:xfrm>
          <a:prstGeom prst="rightArrow">
            <a:avLst>
              <a:gd name="adj1" fmla="val 50000"/>
              <a:gd name="adj2" fmla="val 5281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8" name="Стрелка вправо 57"/>
          <p:cNvSpPr/>
          <p:nvPr/>
        </p:nvSpPr>
        <p:spPr>
          <a:xfrm>
            <a:off x="2700338" y="5732463"/>
            <a:ext cx="403225" cy="412750"/>
          </a:xfrm>
          <a:prstGeom prst="rightArrow">
            <a:avLst>
              <a:gd name="adj1" fmla="val 50000"/>
              <a:gd name="adj2" fmla="val 5281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4" name="Пятно 1 33"/>
          <p:cNvSpPr/>
          <p:nvPr/>
        </p:nvSpPr>
        <p:spPr>
          <a:xfrm>
            <a:off x="179512" y="692696"/>
            <a:ext cx="1440855" cy="1130288"/>
          </a:xfrm>
          <a:prstGeom prst="irregularSeal1">
            <a:avLst/>
          </a:prstGeom>
          <a:solidFill>
            <a:srgbClr val="FF33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black"/>
                </a:solidFill>
              </a:rPr>
              <a:t> низкий темп чтения</a:t>
            </a:r>
          </a:p>
        </p:txBody>
      </p:sp>
      <p:sp>
        <p:nvSpPr>
          <p:cNvPr id="39" name="Стрелка вправо 38"/>
          <p:cNvSpPr/>
          <p:nvPr/>
        </p:nvSpPr>
        <p:spPr>
          <a:xfrm>
            <a:off x="0" y="3860800"/>
            <a:ext cx="561975" cy="373063"/>
          </a:xfrm>
          <a:prstGeom prst="rightArrow">
            <a:avLst>
              <a:gd name="adj1" fmla="val 50000"/>
              <a:gd name="adj2" fmla="val 71113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 rot="16200000">
            <a:off x="1675710" y="5605210"/>
            <a:ext cx="1296147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лексика</a:t>
            </a:r>
          </a:p>
        </p:txBody>
      </p:sp>
      <p:sp>
        <p:nvSpPr>
          <p:cNvPr id="67" name="Пятно 1 66"/>
          <p:cNvSpPr/>
          <p:nvPr/>
        </p:nvSpPr>
        <p:spPr>
          <a:xfrm>
            <a:off x="7236296" y="692696"/>
            <a:ext cx="2160240" cy="1152128"/>
          </a:xfrm>
          <a:prstGeom prst="irregularSeal1">
            <a:avLst/>
          </a:prstGeom>
          <a:solidFill>
            <a:srgbClr val="FF33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prstClr val="black"/>
                </a:solidFill>
              </a:rPr>
              <a:t> путаница в определении понятий: «Тема», основная мысль», «заголовок»</a:t>
            </a:r>
          </a:p>
        </p:txBody>
      </p:sp>
    </p:spTree>
    <p:extLst>
      <p:ext uri="{BB962C8B-B14F-4D97-AF65-F5344CB8AC3E}">
        <p14:creationId xmlns:p14="http://schemas.microsoft.com/office/powerpoint/2010/main" val="10471285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Заголовок 1"/>
          <p:cNvSpPr txBox="1">
            <a:spLocks/>
          </p:cNvSpPr>
          <p:nvPr/>
        </p:nvSpPr>
        <p:spPr>
          <a:xfrm>
            <a:off x="571500" y="285750"/>
            <a:ext cx="8229600" cy="295275"/>
          </a:xfrm>
          <a:prstGeom prst="rect">
            <a:avLst/>
          </a:prstGeom>
        </p:spPr>
        <p:txBody>
          <a:bodyPr lIns="0" rIns="0" bIns="0" anchor="b"/>
          <a:lstStyle/>
          <a:p>
            <a:pPr algn="ctr">
              <a:spcBef>
                <a:spcPct val="0"/>
              </a:spcBef>
              <a:defRPr/>
            </a:pPr>
            <a:endParaRPr lang="ru-RU" sz="2000" b="1" dirty="0">
              <a:solidFill>
                <a:srgbClr val="4E5B6F"/>
              </a:solidFill>
              <a:latin typeface="Franklin Gothic Medium"/>
              <a:cs typeface="Arial" charset="0"/>
            </a:endParaRP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827088" y="1484313"/>
          <a:ext cx="1327150" cy="1008062"/>
        </p:xfrm>
        <a:graphic>
          <a:graphicData uri="http://schemas.openxmlformats.org/drawingml/2006/table">
            <a:tbl>
              <a:tblPr/>
              <a:tblGrid>
                <a:gridCol w="1327150"/>
              </a:tblGrid>
              <a:tr h="354119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905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Незнакомые слова (толкование)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33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2-3 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/>
        </p:nvGraphicFramePr>
        <p:xfrm>
          <a:off x="2987675" y="1484313"/>
          <a:ext cx="1298575" cy="1009650"/>
        </p:xfrm>
        <a:graphic>
          <a:graphicData uri="http://schemas.openxmlformats.org/drawingml/2006/table">
            <a:tbl>
              <a:tblPr/>
              <a:tblGrid>
                <a:gridCol w="1298575"/>
              </a:tblGrid>
              <a:tr h="2743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/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732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 многозначные слова//переносное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значение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206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3-5  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2" name="Таблица 61"/>
          <p:cNvGraphicFramePr>
            <a:graphicFrameLocks noGrp="1"/>
          </p:cNvGraphicFramePr>
          <p:nvPr/>
        </p:nvGraphicFramePr>
        <p:xfrm>
          <a:off x="5076825" y="1484313"/>
          <a:ext cx="1368425" cy="1079501"/>
        </p:xfrm>
        <a:graphic>
          <a:graphicData uri="http://schemas.openxmlformats.org/drawingml/2006/table">
            <a:tbl>
              <a:tblPr/>
              <a:tblGrid>
                <a:gridCol w="1368425"/>
              </a:tblGrid>
              <a:tr h="3598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623" marR="6862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079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 определение средств выразительности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23" marR="6862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117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5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 </a:t>
                      </a: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23" marR="6862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7" name="Таблица 86"/>
          <p:cNvGraphicFramePr>
            <a:graphicFrameLocks noGrp="1"/>
          </p:cNvGraphicFramePr>
          <p:nvPr/>
        </p:nvGraphicFramePr>
        <p:xfrm>
          <a:off x="3059113" y="3789363"/>
          <a:ext cx="1147762" cy="1360487"/>
        </p:xfrm>
        <a:graphic>
          <a:graphicData uri="http://schemas.openxmlformats.org/drawingml/2006/table">
            <a:tbl>
              <a:tblPr/>
              <a:tblGrid>
                <a:gridCol w="1147762"/>
              </a:tblGrid>
              <a:tr h="31546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дети</a:t>
                      </a: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78878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Характеристика предложения по наличию грамматической основы 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623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6- 8 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/>
        </p:nvGraphicFramePr>
        <p:xfrm>
          <a:off x="5219700" y="3789363"/>
          <a:ext cx="1368425" cy="1223961"/>
        </p:xfrm>
        <a:graphic>
          <a:graphicData uri="http://schemas.openxmlformats.org/drawingml/2006/table">
            <a:tbl>
              <a:tblPr/>
              <a:tblGrid>
                <a:gridCol w="1368425"/>
              </a:tblGrid>
              <a:tr h="3369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ети</a:t>
                      </a: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245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Выполнение разборов № 1, 2, 3, 4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624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5- 7 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14" name="Скругленный прямоугольник 113"/>
          <p:cNvSpPr/>
          <p:nvPr/>
        </p:nvSpPr>
        <p:spPr>
          <a:xfrm>
            <a:off x="7380288" y="5516563"/>
            <a:ext cx="1565275" cy="77311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FF0000"/>
                </a:solidFill>
              </a:rPr>
              <a:t>ВПП (время протекания процесса)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FF0000"/>
                </a:solidFill>
              </a:rPr>
              <a:t>39– 54 минут</a:t>
            </a:r>
          </a:p>
        </p:txBody>
      </p:sp>
      <p:sp>
        <p:nvSpPr>
          <p:cNvPr id="53" name="Пятно 1 52"/>
          <p:cNvSpPr/>
          <p:nvPr/>
        </p:nvSpPr>
        <p:spPr>
          <a:xfrm>
            <a:off x="2843808" y="2564904"/>
            <a:ext cx="2232248" cy="1152129"/>
          </a:xfrm>
          <a:prstGeom prst="irregularSeal1">
            <a:avLst/>
          </a:prstGeom>
          <a:solidFill>
            <a:srgbClr val="FF33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ts val="96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b="1" dirty="0">
                <a:solidFill>
                  <a:prstClr val="black"/>
                </a:solidFill>
              </a:rPr>
              <a:t>Сложности  в  разграничении простого предложения с однородными сказуемыми и СП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39975" y="2060575"/>
            <a:ext cx="376238" cy="328613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4500563" y="1844675"/>
            <a:ext cx="354012" cy="328613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2267744" y="4149080"/>
            <a:ext cx="638175" cy="433388"/>
          </a:xfrm>
          <a:prstGeom prst="rightArrow">
            <a:avLst>
              <a:gd name="adj1" fmla="val 50000"/>
              <a:gd name="adj2" fmla="val 43011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4427984" y="4149080"/>
            <a:ext cx="546100" cy="37306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8" name="Стрелка вправо 37"/>
          <p:cNvSpPr/>
          <p:nvPr/>
        </p:nvSpPr>
        <p:spPr>
          <a:xfrm>
            <a:off x="6732240" y="4221088"/>
            <a:ext cx="647700" cy="288925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0" name="Заголовок 1"/>
          <p:cNvSpPr txBox="1">
            <a:spLocks/>
          </p:cNvSpPr>
          <p:nvPr/>
        </p:nvSpPr>
        <p:spPr>
          <a:xfrm>
            <a:off x="142875" y="285750"/>
            <a:ext cx="8686800" cy="78581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prstClr val="black"/>
                </a:solidFill>
              </a:rPr>
              <a:t>Введение в предметную область</a:t>
            </a:r>
            <a:br>
              <a:rPr lang="ru-RU" sz="2000" b="1" dirty="0" smtClean="0">
                <a:solidFill>
                  <a:prstClr val="black"/>
                </a:solidFill>
              </a:rPr>
            </a:br>
            <a:r>
              <a:rPr lang="ru-RU" sz="2000" b="1" dirty="0" smtClean="0">
                <a:solidFill>
                  <a:prstClr val="black"/>
                </a:solidFill>
              </a:rPr>
              <a:t>(описание ситуации «как есть»)</a:t>
            </a:r>
            <a:r>
              <a:rPr lang="ru-RU" sz="3000" b="1" dirty="0" smtClean="0">
                <a:solidFill>
                  <a:prstClr val="black"/>
                </a:solidFill>
              </a:rPr>
              <a:t/>
            </a:r>
            <a:br>
              <a:rPr lang="ru-RU" sz="3000" b="1" dirty="0" smtClean="0">
                <a:solidFill>
                  <a:prstClr val="black"/>
                </a:solidFill>
              </a:rPr>
            </a:br>
            <a:endParaRPr lang="ru-RU" sz="3000" b="1" dirty="0" smtClean="0">
              <a:solidFill>
                <a:prstClr val="black"/>
              </a:solidFill>
            </a:endParaRPr>
          </a:p>
        </p:txBody>
      </p:sp>
      <p:sp>
        <p:nvSpPr>
          <p:cNvPr id="30793" name="Прямоугольник 51"/>
          <p:cNvSpPr>
            <a:spLocks noChangeArrowheads="1"/>
          </p:cNvSpPr>
          <p:nvPr/>
        </p:nvSpPr>
        <p:spPr bwMode="auto">
          <a:xfrm>
            <a:off x="4787900" y="260350"/>
            <a:ext cx="3902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800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  <a:t>Карта текущего состояния процесса</a:t>
            </a:r>
            <a:endParaRPr lang="ru-RU" altLang="ru-RU" sz="180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47" name="Пятно 1 46"/>
          <p:cNvSpPr/>
          <p:nvPr/>
        </p:nvSpPr>
        <p:spPr>
          <a:xfrm>
            <a:off x="5508104" y="404664"/>
            <a:ext cx="2232248" cy="1296144"/>
          </a:xfrm>
          <a:prstGeom prst="irregularSeal1">
            <a:avLst/>
          </a:prstGeom>
          <a:solidFill>
            <a:srgbClr val="FF33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prstClr val="black"/>
                </a:solidFill>
              </a:rPr>
              <a:t> трудности в определении средств выразительности</a:t>
            </a:r>
          </a:p>
        </p:txBody>
      </p:sp>
      <p:sp>
        <p:nvSpPr>
          <p:cNvPr id="49" name="Стрелка вправо 48"/>
          <p:cNvSpPr/>
          <p:nvPr/>
        </p:nvSpPr>
        <p:spPr>
          <a:xfrm>
            <a:off x="6948488" y="1773238"/>
            <a:ext cx="719137" cy="338137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971550" y="3716338"/>
          <a:ext cx="1152525" cy="1573212"/>
        </p:xfrm>
        <a:graphic>
          <a:graphicData uri="http://schemas.openxmlformats.org/drawingml/2006/table">
            <a:tbl>
              <a:tblPr/>
              <a:tblGrid>
                <a:gridCol w="1152525"/>
              </a:tblGrid>
              <a:tr h="31549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дети</a:t>
                      </a: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24" marR="685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9464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Знак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Завершения, выделения, разделения 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Расставить знаки препинания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24" marR="685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112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4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24" marR="685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1" name="Пятно 1 50"/>
          <p:cNvSpPr/>
          <p:nvPr/>
        </p:nvSpPr>
        <p:spPr>
          <a:xfrm>
            <a:off x="755576" y="2708920"/>
            <a:ext cx="2016224" cy="1080120"/>
          </a:xfrm>
          <a:prstGeom prst="irregularSeal1">
            <a:avLst/>
          </a:prstGeom>
          <a:solidFill>
            <a:srgbClr val="FF33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black"/>
                </a:solidFill>
              </a:rPr>
              <a:t>Трудности в разграничении знаков выделения и разделения</a:t>
            </a:r>
          </a:p>
        </p:txBody>
      </p:sp>
      <p:sp>
        <p:nvSpPr>
          <p:cNvPr id="42" name="Прямоугольник 41"/>
          <p:cNvSpPr/>
          <p:nvPr/>
        </p:nvSpPr>
        <p:spPr>
          <a:xfrm rot="16200000">
            <a:off x="-201722" y="1794011"/>
            <a:ext cx="1368152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Лексика </a:t>
            </a:r>
            <a:r>
              <a:rPr lang="ru-RU" sz="2400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4" name="Прямоугольник 53"/>
          <p:cNvSpPr/>
          <p:nvPr/>
        </p:nvSpPr>
        <p:spPr>
          <a:xfrm rot="16200000">
            <a:off x="-283893" y="3892407"/>
            <a:ext cx="1440161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Синтаксис </a:t>
            </a:r>
          </a:p>
        </p:txBody>
      </p:sp>
    </p:spTree>
    <p:extLst>
      <p:ext uri="{BB962C8B-B14F-4D97-AF65-F5344CB8AC3E}">
        <p14:creationId xmlns:p14="http://schemas.microsoft.com/office/powerpoint/2010/main" val="34325952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>
            <a:normAutofit/>
          </a:bodyPr>
          <a:lstStyle/>
          <a:p>
            <a:pPr>
              <a:defRPr/>
            </a:pPr>
            <a:fld id="{CEBC6CC4-C52B-44A5-A840-38AEFD53193B}" type="slidenum">
              <a:rPr lang="ru-RU" b="1">
                <a:solidFill>
                  <a:srgbClr val="C2AD8D">
                    <a:lumMod val="50000"/>
                  </a:srgbClr>
                </a:solidFill>
              </a:rPr>
              <a:pPr>
                <a:defRPr/>
              </a:pPr>
              <a:t>6</a:t>
            </a:fld>
            <a:endParaRPr lang="ru-RU" b="1" dirty="0">
              <a:solidFill>
                <a:srgbClr val="C2AD8D">
                  <a:lumMod val="50000"/>
                </a:srgbClr>
              </a:solidFill>
            </a:endParaRPr>
          </a:p>
        </p:txBody>
      </p:sp>
      <p:sp>
        <p:nvSpPr>
          <p:cNvPr id="17410" name="Заголовок 1"/>
          <p:cNvSpPr>
            <a:spLocks noGrp="1"/>
          </p:cNvSpPr>
          <p:nvPr>
            <p:ph type="title"/>
          </p:nvPr>
        </p:nvSpPr>
        <p:spPr>
          <a:xfrm>
            <a:off x="304800" y="1412875"/>
            <a:ext cx="8686800" cy="550863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ru-RU" altLang="ru-RU" sz="2400" smtClean="0"/>
              <a:t>Пирамида проблем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rgbClr val="000000"/>
                </a:solidFill>
              </a:rPr>
              <a:t>Введение в предметную область</a:t>
            </a:r>
            <a:br>
              <a:rPr lang="ru-RU" sz="2000" b="1" dirty="0" smtClean="0">
                <a:solidFill>
                  <a:srgbClr val="000000"/>
                </a:solidFill>
              </a:rPr>
            </a:br>
            <a:r>
              <a:rPr lang="ru-RU" sz="2000" b="1" dirty="0" smtClean="0">
                <a:solidFill>
                  <a:srgbClr val="000000"/>
                </a:solidFill>
              </a:rPr>
              <a:t>(описание ситуации «как есть»)</a:t>
            </a:r>
            <a:r>
              <a:rPr lang="ru-RU" sz="3000" b="1" dirty="0" smtClean="0">
                <a:solidFill>
                  <a:srgbClr val="000000"/>
                </a:solidFill>
              </a:rPr>
              <a:t/>
            </a:r>
            <a:br>
              <a:rPr lang="ru-RU" sz="3000" b="1" dirty="0" smtClean="0">
                <a:solidFill>
                  <a:srgbClr val="000000"/>
                </a:solidFill>
              </a:rPr>
            </a:br>
            <a:endParaRPr lang="ru-RU" sz="3000" b="1" dirty="0" smtClean="0">
              <a:solidFill>
                <a:srgbClr val="000000"/>
              </a:solidFill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928662" y="2214554"/>
          <a:ext cx="5612412" cy="4245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Скругленный прямоугольник 7"/>
          <p:cNvSpPr/>
          <p:nvPr/>
        </p:nvSpPr>
        <p:spPr>
          <a:xfrm>
            <a:off x="5338763" y="4857750"/>
            <a:ext cx="3455987" cy="165100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alt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alt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alt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alt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alt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Низкий темп чтения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Незнание правил орфографи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Путаница с понятиями «Тема», «Основная мысль»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Трудности в определении стиля текста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Трудности в определении средств выразительност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. Трудности в разграничении средств выразительности;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altLang="en-US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ru-RU" altLang="en-US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286375" y="4143375"/>
            <a:ext cx="2857500" cy="714375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7C984A">
                    <a:lumMod val="75000"/>
                  </a:srgbClr>
                </a:solidFill>
              </a:rPr>
              <a:t>Не выявлены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357688" y="2786063"/>
            <a:ext cx="2857500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7C984A">
                    <a:lumMod val="75000"/>
                  </a:srgbClr>
                </a:solidFill>
              </a:rPr>
              <a:t>Не выявлены</a:t>
            </a:r>
          </a:p>
        </p:txBody>
      </p:sp>
      <p:sp>
        <p:nvSpPr>
          <p:cNvPr id="13" name="Пятно 2 12"/>
          <p:cNvSpPr/>
          <p:nvPr/>
        </p:nvSpPr>
        <p:spPr>
          <a:xfrm>
            <a:off x="2484438" y="5267325"/>
            <a:ext cx="360362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1</a:t>
            </a:r>
          </a:p>
        </p:txBody>
      </p:sp>
      <p:sp>
        <p:nvSpPr>
          <p:cNvPr id="14" name="Пятно 2 13"/>
          <p:cNvSpPr/>
          <p:nvPr/>
        </p:nvSpPr>
        <p:spPr>
          <a:xfrm>
            <a:off x="4859338" y="5224463"/>
            <a:ext cx="360362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5</a:t>
            </a:r>
          </a:p>
        </p:txBody>
      </p:sp>
      <p:sp>
        <p:nvSpPr>
          <p:cNvPr id="15" name="Пятно 2 14"/>
          <p:cNvSpPr/>
          <p:nvPr/>
        </p:nvSpPr>
        <p:spPr>
          <a:xfrm>
            <a:off x="2987675" y="5057775"/>
            <a:ext cx="360363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2</a:t>
            </a:r>
          </a:p>
        </p:txBody>
      </p:sp>
      <p:sp>
        <p:nvSpPr>
          <p:cNvPr id="16" name="Пятно 2 15"/>
          <p:cNvSpPr/>
          <p:nvPr/>
        </p:nvSpPr>
        <p:spPr>
          <a:xfrm>
            <a:off x="3492500" y="5791200"/>
            <a:ext cx="360363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6</a:t>
            </a:r>
          </a:p>
        </p:txBody>
      </p:sp>
      <p:pic>
        <p:nvPicPr>
          <p:cNvPr id="17421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6888" y="5057775"/>
            <a:ext cx="407987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22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0" y="5076825"/>
            <a:ext cx="401638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3548488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7</a:t>
            </a:fld>
            <a:endParaRPr lang="ru-RU" altLang="ru-RU" b="1" dirty="0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143768" y="785794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</a:rPr>
              <a:t>Экономия</a:t>
            </a:r>
          </a:p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</a:rPr>
              <a:t>времени, мин.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170481" y="797617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4526" y="1431705"/>
            <a:ext cx="2110011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2444734" y="1296796"/>
            <a:ext cx="1950576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евысокий уровень осознанного чтения</a:t>
            </a:r>
            <a:endParaRPr lang="ru-RU" alt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715272" y="1412594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2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44743" y="1213288"/>
            <a:ext cx="8474524" cy="91589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445394" y="144412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222125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31" name="TextBox 41"/>
          <p:cNvSpPr txBox="1">
            <a:spLocks noChangeArrowheads="1"/>
          </p:cNvSpPr>
          <p:nvPr/>
        </p:nvSpPr>
        <p:spPr bwMode="auto">
          <a:xfrm>
            <a:off x="5114401" y="1216382"/>
            <a:ext cx="2254266" cy="80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дивидуальная работа по развитию навыков осознанного чтения</a:t>
            </a:r>
          </a:p>
          <a:p>
            <a:pPr algn="ctr"/>
            <a:r>
              <a:rPr lang="ru-RU" altLang="ru-RU" sz="10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трелка: вправо 3"/>
          <p:cNvSpPr/>
          <p:nvPr/>
        </p:nvSpPr>
        <p:spPr>
          <a:xfrm rot="20716787">
            <a:off x="4659492" y="1496077"/>
            <a:ext cx="220403" cy="189923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720498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tx2"/>
                </a:solidFill>
              </a:rPr>
              <a:t>Первопричина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18864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1015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Анализ проблем 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01015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44742" y="4236914"/>
            <a:ext cx="8403087" cy="704254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57" name="Стрелка: вправо 3"/>
          <p:cNvSpPr/>
          <p:nvPr/>
        </p:nvSpPr>
        <p:spPr>
          <a:xfrm>
            <a:off x="1977608" y="3318738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: вправо 3"/>
          <p:cNvSpPr/>
          <p:nvPr/>
        </p:nvSpPr>
        <p:spPr>
          <a:xfrm>
            <a:off x="7358082" y="344962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Стрелка: вправо 3"/>
          <p:cNvSpPr/>
          <p:nvPr/>
        </p:nvSpPr>
        <p:spPr>
          <a:xfrm>
            <a:off x="4566582" y="336812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8" name="TextBox 41"/>
          <p:cNvSpPr txBox="1">
            <a:spLocks noChangeArrowheads="1"/>
          </p:cNvSpPr>
          <p:nvPr/>
        </p:nvSpPr>
        <p:spPr bwMode="auto">
          <a:xfrm>
            <a:off x="7812361" y="3318738"/>
            <a:ext cx="864096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2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98415" y="1523107"/>
            <a:ext cx="22304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изкий темп чтения    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305223" y="3318738"/>
            <a:ext cx="8381147" cy="775709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73" name="Стрелка: вправо 3"/>
          <p:cNvSpPr/>
          <p:nvPr/>
        </p:nvSpPr>
        <p:spPr>
          <a:xfrm>
            <a:off x="1901619" y="444356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5" name="Стрелка: вправо 3"/>
          <p:cNvSpPr/>
          <p:nvPr/>
        </p:nvSpPr>
        <p:spPr>
          <a:xfrm>
            <a:off x="4545012" y="448884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9" name="Стрелка: вправо 3"/>
          <p:cNvSpPr/>
          <p:nvPr/>
        </p:nvSpPr>
        <p:spPr>
          <a:xfrm>
            <a:off x="7294085" y="4384738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0" name="TextBox 41"/>
          <p:cNvSpPr txBox="1">
            <a:spLocks noChangeArrowheads="1"/>
          </p:cNvSpPr>
          <p:nvPr/>
        </p:nvSpPr>
        <p:spPr bwMode="auto">
          <a:xfrm>
            <a:off x="7591864" y="4369440"/>
            <a:ext cx="1056438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0,5-1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9" name="Стрелка: вправо 3"/>
          <p:cNvSpPr/>
          <p:nvPr/>
        </p:nvSpPr>
        <p:spPr>
          <a:xfrm>
            <a:off x="2114537" y="149437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318720" y="2315858"/>
            <a:ext cx="8452585" cy="87714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2027224" y="236200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357421" y="2087053"/>
            <a:ext cx="171052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0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е сформирована </a:t>
            </a:r>
            <a:r>
              <a:rPr lang="ru-RU" alt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фографической </a:t>
            </a:r>
            <a:r>
              <a:rPr lang="ru-RU" alt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оркость</a:t>
            </a:r>
            <a:endParaRPr lang="ru-RU" alt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Стрелка: вправо 3"/>
          <p:cNvSpPr/>
          <p:nvPr/>
        </p:nvSpPr>
        <p:spPr>
          <a:xfrm>
            <a:off x="4653894" y="237312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5103817" y="2362009"/>
            <a:ext cx="19164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истематизировать  работу по формированию орфографической зоркости-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хема-алгоритм</a:t>
            </a:r>
            <a:endParaRPr lang="ru-RU" alt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Стрелка: вправо 3"/>
          <p:cNvSpPr/>
          <p:nvPr/>
        </p:nvSpPr>
        <p:spPr>
          <a:xfrm>
            <a:off x="7183457" y="248717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TextBox 41"/>
          <p:cNvSpPr txBox="1">
            <a:spLocks noChangeArrowheads="1"/>
          </p:cNvSpPr>
          <p:nvPr/>
        </p:nvSpPr>
        <p:spPr bwMode="auto">
          <a:xfrm>
            <a:off x="7715272" y="2415854"/>
            <a:ext cx="933029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2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305223" y="5085183"/>
            <a:ext cx="8466082" cy="646331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305223" y="5733256"/>
            <a:ext cx="8539595" cy="86409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90135" y="3238818"/>
            <a:ext cx="14293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ети путают понятия: «тема», «основная мысль», «заголовок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146399" y="3343943"/>
            <a:ext cx="21902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ка памятки по понятиям: «тема», «основная мысль», «заголовок»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304596" y="3335378"/>
            <a:ext cx="210931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чно изучены понятия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0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27813" y="4225465"/>
            <a:ext cx="15917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рудности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 определении тип, стиля текст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201848" y="4285607"/>
            <a:ext cx="21617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структурирована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096655" y="4285607"/>
            <a:ext cx="21145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ка памятки «Тип и стиль текста»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98414" y="5085184"/>
            <a:ext cx="19463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рудности в разграничении знаков выделения и разделения</a:t>
            </a:r>
            <a:endParaRPr lang="ru-RU" alt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9" name="Стрелка: вправо 3"/>
          <p:cNvSpPr/>
          <p:nvPr/>
        </p:nvSpPr>
        <p:spPr>
          <a:xfrm>
            <a:off x="2289161" y="516777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 flipH="1">
            <a:off x="2444730" y="5085184"/>
            <a:ext cx="179783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разработаны схемы по знакам препинания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Стрелка: вправо 3"/>
          <p:cNvSpPr/>
          <p:nvPr/>
        </p:nvSpPr>
        <p:spPr>
          <a:xfrm>
            <a:off x="4363645" y="518908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 flipH="1">
            <a:off x="5103815" y="5085184"/>
            <a:ext cx="19164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ка схем по знакам препинания</a:t>
            </a:r>
            <a:endParaRPr lang="ru-RU" alt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" name="Стрелка: вправо 3"/>
          <p:cNvSpPr/>
          <p:nvPr/>
        </p:nvSpPr>
        <p:spPr>
          <a:xfrm>
            <a:off x="7286394" y="517649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6" name="TextBox 41"/>
          <p:cNvSpPr txBox="1">
            <a:spLocks noChangeArrowheads="1"/>
          </p:cNvSpPr>
          <p:nvPr/>
        </p:nvSpPr>
        <p:spPr bwMode="auto">
          <a:xfrm>
            <a:off x="7715272" y="5132025"/>
            <a:ext cx="961185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2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7812" y="5718047"/>
            <a:ext cx="21359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ложности в разграничении  простого  предложения с однородными сказуемыми и СП</a:t>
            </a:r>
          </a:p>
        </p:txBody>
      </p:sp>
      <p:sp>
        <p:nvSpPr>
          <p:cNvPr id="71" name="Стрелка: вправо 3"/>
          <p:cNvSpPr/>
          <p:nvPr/>
        </p:nvSpPr>
        <p:spPr>
          <a:xfrm>
            <a:off x="2681648" y="605656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 flipH="1">
            <a:off x="2875110" y="5824174"/>
            <a:ext cx="169147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структурирована информация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Стрелка: вправо 3"/>
          <p:cNvSpPr/>
          <p:nvPr/>
        </p:nvSpPr>
        <p:spPr>
          <a:xfrm>
            <a:off x="4595070" y="601551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4769695" y="5805264"/>
            <a:ext cx="2250576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ка  блок-схем  по теме  «Сложные  предложения»: с примерами</a:t>
            </a:r>
            <a:endParaRPr lang="ru-RU" alt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0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7" name="Стрелка: вправо 3"/>
          <p:cNvSpPr/>
          <p:nvPr/>
        </p:nvSpPr>
        <p:spPr>
          <a:xfrm>
            <a:off x="7285070" y="605914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1" name="TextBox 41"/>
          <p:cNvSpPr txBox="1">
            <a:spLocks noChangeArrowheads="1"/>
          </p:cNvSpPr>
          <p:nvPr/>
        </p:nvSpPr>
        <p:spPr bwMode="auto">
          <a:xfrm>
            <a:off x="7715273" y="6092445"/>
            <a:ext cx="933030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2-3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1516" y="2265645"/>
            <a:ext cx="13454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знание правил </a:t>
            </a:r>
            <a:endParaRPr lang="ru-RU" altLang="ru-RU" sz="12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рфографии</a:t>
            </a:r>
            <a:endParaRPr lang="ru-RU" alt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20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Заголовок 1"/>
          <p:cNvSpPr txBox="1">
            <a:spLocks/>
          </p:cNvSpPr>
          <p:nvPr/>
        </p:nvSpPr>
        <p:spPr>
          <a:xfrm>
            <a:off x="571500" y="285750"/>
            <a:ext cx="8229600" cy="295275"/>
          </a:xfrm>
          <a:prstGeom prst="rect">
            <a:avLst/>
          </a:prstGeom>
        </p:spPr>
        <p:txBody>
          <a:bodyPr lIns="0" rIns="0" bIns="0" anchor="b"/>
          <a:lstStyle/>
          <a:p>
            <a:pPr algn="ctr">
              <a:spcBef>
                <a:spcPct val="0"/>
              </a:spcBef>
              <a:defRPr/>
            </a:pPr>
            <a:endParaRPr lang="ru-RU" sz="2000" b="1" dirty="0">
              <a:solidFill>
                <a:srgbClr val="4E5B6F"/>
              </a:solidFill>
              <a:latin typeface="Franklin Gothic Medium"/>
              <a:cs typeface="Arial" charset="0"/>
            </a:endParaRP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468313" y="1844675"/>
          <a:ext cx="1327150" cy="936625"/>
        </p:xfrm>
        <a:graphic>
          <a:graphicData uri="http://schemas.openxmlformats.org/drawingml/2006/table">
            <a:tbl>
              <a:tblPr/>
              <a:tblGrid>
                <a:gridCol w="1327150"/>
              </a:tblGrid>
              <a:tr h="282285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908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Чтение текста 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351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2-3 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/>
        </p:nvGraphicFramePr>
        <p:xfrm>
          <a:off x="2347913" y="1789113"/>
          <a:ext cx="1298575" cy="1166813"/>
        </p:xfrm>
        <a:graphic>
          <a:graphicData uri="http://schemas.openxmlformats.org/drawingml/2006/table">
            <a:tbl>
              <a:tblPr/>
              <a:tblGrid>
                <a:gridCol w="1298575"/>
              </a:tblGrid>
              <a:tr h="2743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дети </a:t>
                      </a:r>
                    </a:p>
                    <a:p>
                      <a:pPr algn="ctr"/>
                      <a:endParaRPr lang="ru-RU" altLang="en-US" sz="900" b="0" i="0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307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 вставить пропущенные буквы.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17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2- 3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 </a:t>
                      </a: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2" name="Таблица 61"/>
          <p:cNvGraphicFramePr>
            <a:graphicFrameLocks noGrp="1"/>
          </p:cNvGraphicFramePr>
          <p:nvPr/>
        </p:nvGraphicFramePr>
        <p:xfrm>
          <a:off x="4427538" y="1773238"/>
          <a:ext cx="1223962" cy="981076"/>
        </p:xfrm>
        <a:graphic>
          <a:graphicData uri="http://schemas.openxmlformats.org/drawingml/2006/table">
            <a:tbl>
              <a:tblPr/>
              <a:tblGrid>
                <a:gridCol w="1223962"/>
              </a:tblGrid>
              <a:tr h="3154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дети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en-US" sz="900" b="0" i="0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855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 определение ключевых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слов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800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4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 </a:t>
                      </a: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6516688" y="1773238"/>
          <a:ext cx="1233487" cy="990616"/>
        </p:xfrm>
        <a:graphic>
          <a:graphicData uri="http://schemas.openxmlformats.org/drawingml/2006/table">
            <a:tbl>
              <a:tblPr/>
              <a:tblGrid>
                <a:gridCol w="1233487"/>
              </a:tblGrid>
              <a:tr h="3154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596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Определение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темы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154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1" baseline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0,5 - 1 минута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7" name="Таблица 86"/>
          <p:cNvGraphicFramePr>
            <a:graphicFrameLocks noGrp="1"/>
          </p:cNvGraphicFramePr>
          <p:nvPr/>
        </p:nvGraphicFramePr>
        <p:xfrm>
          <a:off x="2987675" y="3644900"/>
          <a:ext cx="1147763" cy="1044576"/>
        </p:xfrm>
        <a:graphic>
          <a:graphicData uri="http://schemas.openxmlformats.org/drawingml/2006/table">
            <a:tbl>
              <a:tblPr/>
              <a:tblGrid>
                <a:gridCol w="1147763"/>
              </a:tblGrid>
              <a:tr h="3154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73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Озаглавить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текст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60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0,5  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/>
        </p:nvGraphicFramePr>
        <p:xfrm>
          <a:off x="4932363" y="3716338"/>
          <a:ext cx="1223962" cy="993775"/>
        </p:xfrm>
        <a:graphic>
          <a:graphicData uri="http://schemas.openxmlformats.org/drawingml/2006/table">
            <a:tbl>
              <a:tblPr/>
              <a:tblGrid>
                <a:gridCol w="1223962"/>
              </a:tblGrid>
              <a:tr h="3154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en-U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617" marR="686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0115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Определить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тип текста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7" marR="686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771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0,5 – 1 минута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7" marR="686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2" name="Стрелка вправо 31"/>
          <p:cNvSpPr/>
          <p:nvPr/>
        </p:nvSpPr>
        <p:spPr>
          <a:xfrm>
            <a:off x="1892300" y="2214563"/>
            <a:ext cx="376238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3851920" y="2204864"/>
            <a:ext cx="432172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2123729" y="4005065"/>
            <a:ext cx="576064" cy="360040"/>
          </a:xfrm>
          <a:prstGeom prst="rightArrow">
            <a:avLst>
              <a:gd name="adj1" fmla="val 50000"/>
              <a:gd name="adj2" fmla="val 43011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4283968" y="4077073"/>
            <a:ext cx="546100" cy="28803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8" name="Стрелка вправо 37"/>
          <p:cNvSpPr/>
          <p:nvPr/>
        </p:nvSpPr>
        <p:spPr>
          <a:xfrm>
            <a:off x="6444208" y="4077072"/>
            <a:ext cx="575717" cy="289694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/>
        </p:nvGraphicFramePr>
        <p:xfrm>
          <a:off x="900113" y="5589588"/>
          <a:ext cx="1214437" cy="1071562"/>
        </p:xfrm>
        <a:graphic>
          <a:graphicData uri="http://schemas.openxmlformats.org/drawingml/2006/table">
            <a:tbl>
              <a:tblPr/>
              <a:tblGrid>
                <a:gridCol w="1214437"/>
              </a:tblGrid>
              <a:tr h="17318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дети</a:t>
                      </a: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64" marR="686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72519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Определение  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микротем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  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и  составление плана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64" marR="686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7318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5 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64" marR="686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1" name="Таблица 40"/>
          <p:cNvGraphicFramePr>
            <a:graphicFrameLocks noGrp="1"/>
          </p:cNvGraphicFramePr>
          <p:nvPr/>
        </p:nvGraphicFramePr>
        <p:xfrm>
          <a:off x="7164388" y="3573463"/>
          <a:ext cx="1368425" cy="1046162"/>
        </p:xfrm>
        <a:graphic>
          <a:graphicData uri="http://schemas.openxmlformats.org/drawingml/2006/table">
            <a:tbl>
              <a:tblPr/>
              <a:tblGrid>
                <a:gridCol w="1368425"/>
              </a:tblGrid>
              <a:tr h="36003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322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Определить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стиль  текста</a:t>
                      </a: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38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0,5 – 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7" marR="6858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6" name="Прямоугольник 35"/>
          <p:cNvSpPr/>
          <p:nvPr/>
        </p:nvSpPr>
        <p:spPr>
          <a:xfrm rot="16200000">
            <a:off x="-316695" y="2089511"/>
            <a:ext cx="109505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2867" name="Заголовок 1"/>
          <p:cNvSpPr txBox="1">
            <a:spLocks/>
          </p:cNvSpPr>
          <p:nvPr/>
        </p:nvSpPr>
        <p:spPr bwMode="auto">
          <a:xfrm>
            <a:off x="142875" y="285750"/>
            <a:ext cx="8686800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  <a:t>ВВЕДЕНИЕ В ПРЕДМЕТНУЮ ОБЛАСТЬ</a:t>
            </a:r>
            <a:br>
              <a:rPr lang="ru-RU" altLang="ru-RU" sz="2000" b="1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</a:br>
            <a:r>
              <a:rPr lang="ru-RU" altLang="ru-RU" sz="2000" b="1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  <a:t>(ОПИСАНИЕ СИТУАЦИИ </a:t>
            </a:r>
            <a:r>
              <a:rPr lang="ru-RU" altLang="ru-RU" sz="2000" b="1" smtClean="0">
                <a:solidFill>
                  <a:srgbClr val="000000"/>
                </a:solidFill>
                <a:latin typeface="Franklin Gothic Medium" pitchFamily="34" charset="0"/>
                <a:cs typeface="Arial" charset="0"/>
              </a:rPr>
              <a:t>«КАК БУДЕТ»)</a:t>
            </a:r>
            <a:r>
              <a:rPr lang="ru-RU" altLang="ru-RU" sz="3000" b="1" smtClean="0">
                <a:solidFill>
                  <a:srgbClr val="000000"/>
                </a:solidFill>
                <a:latin typeface="Franklin Gothic Medium" pitchFamily="34" charset="0"/>
                <a:cs typeface="Arial" charset="0"/>
              </a:rPr>
              <a:t/>
            </a:r>
            <a:br>
              <a:rPr lang="ru-RU" altLang="ru-RU" sz="3000" b="1" smtClean="0">
                <a:solidFill>
                  <a:srgbClr val="000000"/>
                </a:solidFill>
                <a:latin typeface="Franklin Gothic Medium" pitchFamily="34" charset="0"/>
                <a:cs typeface="Arial" charset="0"/>
              </a:rPr>
            </a:br>
            <a:endParaRPr lang="ru-RU" altLang="ru-RU" sz="3000" b="1" smtClean="0">
              <a:solidFill>
                <a:srgbClr val="000000"/>
              </a:solidFill>
              <a:latin typeface="Franklin Gothic Medium" pitchFamily="34" charset="0"/>
              <a:cs typeface="Arial" charset="0"/>
            </a:endParaRPr>
          </a:p>
        </p:txBody>
      </p:sp>
      <p:sp>
        <p:nvSpPr>
          <p:cNvPr id="32868" name="Прямоугольник 51"/>
          <p:cNvSpPr>
            <a:spLocks noChangeArrowheads="1"/>
          </p:cNvSpPr>
          <p:nvPr/>
        </p:nvSpPr>
        <p:spPr bwMode="auto">
          <a:xfrm>
            <a:off x="4787900" y="260350"/>
            <a:ext cx="3902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800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  <a:t>Карта текущего состояния процесса</a:t>
            </a:r>
            <a:endParaRPr lang="ru-RU" altLang="ru-RU" sz="180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Стрелка вправо 56"/>
          <p:cNvSpPr/>
          <p:nvPr/>
        </p:nvSpPr>
        <p:spPr>
          <a:xfrm>
            <a:off x="5868144" y="2204864"/>
            <a:ext cx="503684" cy="287337"/>
          </a:xfrm>
          <a:prstGeom prst="rightArrow">
            <a:avLst>
              <a:gd name="adj1" fmla="val 50000"/>
              <a:gd name="adj2" fmla="val 4394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9" name="Стрелка вправо 48"/>
          <p:cNvSpPr/>
          <p:nvPr/>
        </p:nvSpPr>
        <p:spPr>
          <a:xfrm>
            <a:off x="8028384" y="2132856"/>
            <a:ext cx="432048" cy="338138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684213" y="3716338"/>
          <a:ext cx="1166812" cy="1041400"/>
        </p:xfrm>
        <a:graphic>
          <a:graphicData uri="http://schemas.openxmlformats.org/drawingml/2006/table">
            <a:tbl>
              <a:tblPr/>
              <a:tblGrid>
                <a:gridCol w="1166812"/>
              </a:tblGrid>
              <a:tr h="3156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aseline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03" marR="6850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706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Определение основной 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 мысли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03" marR="6850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551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1-2 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03" marR="6850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2" name="Стрелка вправо 51"/>
          <p:cNvSpPr/>
          <p:nvPr/>
        </p:nvSpPr>
        <p:spPr>
          <a:xfrm>
            <a:off x="8629650" y="4005065"/>
            <a:ext cx="514350" cy="288032"/>
          </a:xfrm>
          <a:prstGeom prst="rightArrow">
            <a:avLst>
              <a:gd name="adj1" fmla="val 50000"/>
              <a:gd name="adj2" fmla="val 5281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5" name="Стрелка вправо 54"/>
          <p:cNvSpPr/>
          <p:nvPr/>
        </p:nvSpPr>
        <p:spPr>
          <a:xfrm>
            <a:off x="179512" y="5877272"/>
            <a:ext cx="461963" cy="412750"/>
          </a:xfrm>
          <a:prstGeom prst="rightArrow">
            <a:avLst>
              <a:gd name="adj1" fmla="val 50000"/>
              <a:gd name="adj2" fmla="val 5281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8" name="Стрелка вправо 57"/>
          <p:cNvSpPr/>
          <p:nvPr/>
        </p:nvSpPr>
        <p:spPr>
          <a:xfrm>
            <a:off x="2915816" y="6021288"/>
            <a:ext cx="504056" cy="288032"/>
          </a:xfrm>
          <a:prstGeom prst="rightArrow">
            <a:avLst>
              <a:gd name="adj1" fmla="val 50000"/>
              <a:gd name="adj2" fmla="val 5281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9" name="Стрелка вправо 38"/>
          <p:cNvSpPr/>
          <p:nvPr/>
        </p:nvSpPr>
        <p:spPr>
          <a:xfrm>
            <a:off x="0" y="4077072"/>
            <a:ext cx="539552" cy="288031"/>
          </a:xfrm>
          <a:prstGeom prst="rightArrow">
            <a:avLst>
              <a:gd name="adj1" fmla="val 50000"/>
              <a:gd name="adj2" fmla="val 71113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 rot="16200000">
            <a:off x="1819726" y="5893242"/>
            <a:ext cx="1296147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лексика</a:t>
            </a:r>
          </a:p>
        </p:txBody>
      </p:sp>
    </p:spTree>
    <p:extLst>
      <p:ext uri="{BB962C8B-B14F-4D97-AF65-F5344CB8AC3E}">
        <p14:creationId xmlns:p14="http://schemas.microsoft.com/office/powerpoint/2010/main" val="13651078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Заголовок 1"/>
          <p:cNvSpPr txBox="1">
            <a:spLocks/>
          </p:cNvSpPr>
          <p:nvPr/>
        </p:nvSpPr>
        <p:spPr>
          <a:xfrm>
            <a:off x="571500" y="285750"/>
            <a:ext cx="8229600" cy="295275"/>
          </a:xfrm>
          <a:prstGeom prst="rect">
            <a:avLst/>
          </a:prstGeom>
        </p:spPr>
        <p:txBody>
          <a:bodyPr lIns="0" rIns="0" bIns="0" anchor="b"/>
          <a:lstStyle/>
          <a:p>
            <a:pPr algn="ctr">
              <a:spcBef>
                <a:spcPct val="0"/>
              </a:spcBef>
              <a:defRPr/>
            </a:pPr>
            <a:endParaRPr lang="ru-RU" sz="2000" b="1" dirty="0">
              <a:solidFill>
                <a:srgbClr val="4E5B6F"/>
              </a:solidFill>
              <a:latin typeface="Franklin Gothic Medium"/>
              <a:cs typeface="Arial" charset="0"/>
            </a:endParaRP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827088" y="1484313"/>
          <a:ext cx="1327150" cy="1008062"/>
        </p:xfrm>
        <a:graphic>
          <a:graphicData uri="http://schemas.openxmlformats.org/drawingml/2006/table">
            <a:tbl>
              <a:tblPr/>
              <a:tblGrid>
                <a:gridCol w="1327150"/>
              </a:tblGrid>
              <a:tr h="354119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905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Незнакомые слова (толкование)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33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2-3 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33" marR="6863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/>
        </p:nvGraphicFramePr>
        <p:xfrm>
          <a:off x="2987675" y="1484313"/>
          <a:ext cx="1298575" cy="1009650"/>
        </p:xfrm>
        <a:graphic>
          <a:graphicData uri="http://schemas.openxmlformats.org/drawingml/2006/table">
            <a:tbl>
              <a:tblPr/>
              <a:tblGrid>
                <a:gridCol w="1298575"/>
              </a:tblGrid>
              <a:tr h="2743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algn="ctr"/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732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 многозначные слова//переносное</a:t>
                      </a: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 значение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206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 3-5  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745" marR="687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2" name="Таблица 61"/>
          <p:cNvGraphicFramePr>
            <a:graphicFrameLocks noGrp="1"/>
          </p:cNvGraphicFramePr>
          <p:nvPr/>
        </p:nvGraphicFramePr>
        <p:xfrm>
          <a:off x="5076825" y="1484313"/>
          <a:ext cx="1368425" cy="1079501"/>
        </p:xfrm>
        <a:graphic>
          <a:graphicData uri="http://schemas.openxmlformats.org/drawingml/2006/table">
            <a:tbl>
              <a:tblPr/>
              <a:tblGrid>
                <a:gridCol w="1368425"/>
              </a:tblGrid>
              <a:tr h="3598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623" marR="6862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079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 определение средств выразительности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23" marR="6862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117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1-3</a:t>
                      </a: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23" marR="6862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7" name="Таблица 86"/>
          <p:cNvGraphicFramePr>
            <a:graphicFrameLocks noGrp="1"/>
          </p:cNvGraphicFramePr>
          <p:nvPr/>
        </p:nvGraphicFramePr>
        <p:xfrm>
          <a:off x="3276600" y="3789363"/>
          <a:ext cx="1655763" cy="1319211"/>
        </p:xfrm>
        <a:graphic>
          <a:graphicData uri="http://schemas.openxmlformats.org/drawingml/2006/table">
            <a:tbl>
              <a:tblPr/>
              <a:tblGrid>
                <a:gridCol w="1655763"/>
              </a:tblGrid>
              <a:tr h="35024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</a:txBody>
                  <a:tcPr marL="68570" marR="68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574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Характеристика предложения по наличию грамматической основы 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70" marR="68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115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6-8  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70" marR="6857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/>
        </p:nvGraphicFramePr>
        <p:xfrm>
          <a:off x="5795963" y="3860800"/>
          <a:ext cx="1439862" cy="1223963"/>
        </p:xfrm>
        <a:graphic>
          <a:graphicData uri="http://schemas.openxmlformats.org/drawingml/2006/table">
            <a:tbl>
              <a:tblPr/>
              <a:tblGrid>
                <a:gridCol w="1439862"/>
              </a:tblGrid>
              <a:tr h="3350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</a:txBody>
                  <a:tcPr marL="68574" marR="685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972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+mn-lt"/>
                          <a:ea typeface="Calibri"/>
                          <a:cs typeface="Times New Roman"/>
                        </a:rPr>
                        <a:t>Выполнение разборов № 1, 2, 3, 4</a:t>
                      </a:r>
                      <a:endParaRPr lang="ru-RU" sz="9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74" marR="685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916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5-7 минут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74" marR="6857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14" name="Скругленный прямоугольник 113"/>
          <p:cNvSpPr/>
          <p:nvPr/>
        </p:nvSpPr>
        <p:spPr>
          <a:xfrm>
            <a:off x="6659563" y="5373688"/>
            <a:ext cx="1728787" cy="863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FF0000"/>
                </a:solidFill>
              </a:rPr>
              <a:t>ВПП (время протекания процесса)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FF0000"/>
                </a:solidFill>
              </a:rPr>
              <a:t> 29,5–  37 минут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39752" y="1772816"/>
            <a:ext cx="376238" cy="328613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4500563" y="1844675"/>
            <a:ext cx="354012" cy="328613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2555776" y="4293096"/>
            <a:ext cx="638175" cy="433388"/>
          </a:xfrm>
          <a:prstGeom prst="rightArrow">
            <a:avLst>
              <a:gd name="adj1" fmla="val 50000"/>
              <a:gd name="adj2" fmla="val 43011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5076056" y="4293096"/>
            <a:ext cx="546100" cy="37306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3858" name="Заголовок 1"/>
          <p:cNvSpPr txBox="1">
            <a:spLocks/>
          </p:cNvSpPr>
          <p:nvPr/>
        </p:nvSpPr>
        <p:spPr bwMode="auto">
          <a:xfrm>
            <a:off x="142875" y="285750"/>
            <a:ext cx="8686800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  <a:t>ВВЕДЕНИЕ В ПРЕДМЕТНУЮ ОБЛАСТЬ</a:t>
            </a:r>
            <a:br>
              <a:rPr lang="ru-RU" altLang="ru-RU" sz="2000" b="1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</a:br>
            <a:r>
              <a:rPr lang="ru-RU" altLang="ru-RU" sz="2000" b="1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  <a:t>(ОПИСАНИЕ СИТУАЦИИ «</a:t>
            </a:r>
            <a:r>
              <a:rPr lang="ru-RU" altLang="ru-RU" sz="2000" b="1" smtClean="0">
                <a:solidFill>
                  <a:srgbClr val="000000"/>
                </a:solidFill>
                <a:latin typeface="Franklin Gothic Medium" pitchFamily="34" charset="0"/>
                <a:cs typeface="Arial" charset="0"/>
              </a:rPr>
              <a:t>КАК БУДЕТ»)</a:t>
            </a:r>
            <a:r>
              <a:rPr lang="ru-RU" altLang="ru-RU" sz="3000" b="1" smtClean="0">
                <a:solidFill>
                  <a:srgbClr val="000000"/>
                </a:solidFill>
                <a:latin typeface="Franklin Gothic Medium" pitchFamily="34" charset="0"/>
                <a:cs typeface="Arial" charset="0"/>
              </a:rPr>
              <a:t/>
            </a:r>
            <a:br>
              <a:rPr lang="ru-RU" altLang="ru-RU" sz="3000" b="1" smtClean="0">
                <a:solidFill>
                  <a:srgbClr val="000000"/>
                </a:solidFill>
                <a:latin typeface="Franklin Gothic Medium" pitchFamily="34" charset="0"/>
                <a:cs typeface="Arial" charset="0"/>
              </a:rPr>
            </a:br>
            <a:r>
              <a:rPr lang="ru-RU" altLang="ru-RU" sz="2000" b="1" smtClean="0">
                <a:solidFill>
                  <a:prstClr val="black"/>
                </a:solidFill>
                <a:latin typeface="Arial" charset="0"/>
                <a:cs typeface="Arial" charset="0"/>
              </a:rPr>
              <a:t> </a:t>
            </a:r>
            <a:r>
              <a:rPr lang="ru-RU" altLang="ru-RU" sz="3000" b="1" smtClean="0">
                <a:solidFill>
                  <a:prstClr val="black"/>
                </a:solidFill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33859" name="Прямоугольник 51"/>
          <p:cNvSpPr>
            <a:spLocks noChangeArrowheads="1"/>
          </p:cNvSpPr>
          <p:nvPr/>
        </p:nvSpPr>
        <p:spPr bwMode="auto">
          <a:xfrm>
            <a:off x="4787900" y="260350"/>
            <a:ext cx="39020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800" smtClean="0">
                <a:solidFill>
                  <a:prstClr val="black"/>
                </a:solidFill>
                <a:latin typeface="Franklin Gothic Medium" pitchFamily="34" charset="0"/>
                <a:cs typeface="Arial" charset="0"/>
              </a:rPr>
              <a:t>Карта текущего состояния процесса</a:t>
            </a:r>
            <a:endParaRPr lang="ru-RU" altLang="ru-RU" sz="180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49" name="Стрелка вправо 48"/>
          <p:cNvSpPr/>
          <p:nvPr/>
        </p:nvSpPr>
        <p:spPr>
          <a:xfrm>
            <a:off x="6804248" y="1916832"/>
            <a:ext cx="647129" cy="338137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971550" y="3789363"/>
          <a:ext cx="1368425" cy="1439882"/>
        </p:xfrm>
        <a:graphic>
          <a:graphicData uri="http://schemas.openxmlformats.org/drawingml/2006/table">
            <a:tbl>
              <a:tblPr/>
              <a:tblGrid>
                <a:gridCol w="1368425"/>
              </a:tblGrid>
              <a:tr h="3124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9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ти </a:t>
                      </a:r>
                    </a:p>
                  </a:txBody>
                  <a:tcPr marL="68517" marR="685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7886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Знаки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Завершения, выделения, разделения 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latin typeface="+mn-lt"/>
                          <a:ea typeface="Calibri"/>
                          <a:cs typeface="Times New Roman"/>
                        </a:rPr>
                        <a:t>Расставить  знаки препинания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17" marR="685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387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4  минуты</a:t>
                      </a:r>
                      <a:endParaRPr lang="ru-RU" sz="9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17" marR="6851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42" name="Прямоугольник 41"/>
          <p:cNvSpPr/>
          <p:nvPr/>
        </p:nvSpPr>
        <p:spPr>
          <a:xfrm rot="16200000">
            <a:off x="-201722" y="1794011"/>
            <a:ext cx="1368152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Лексика </a:t>
            </a:r>
            <a:r>
              <a:rPr lang="ru-RU" sz="2400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4" name="Прямоугольник 53"/>
          <p:cNvSpPr/>
          <p:nvPr/>
        </p:nvSpPr>
        <p:spPr>
          <a:xfrm rot="16200000">
            <a:off x="-283893" y="4396463"/>
            <a:ext cx="1440161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ln w="1905"/>
                <a:gradFill>
                  <a:gsLst>
                    <a:gs pos="0">
                      <a:srgbClr val="1AB39F">
                        <a:shade val="20000"/>
                        <a:satMod val="200000"/>
                      </a:srgbClr>
                    </a:gs>
                    <a:gs pos="78000">
                      <a:srgbClr val="1AB39F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1AB39F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Синтаксис </a:t>
            </a:r>
          </a:p>
        </p:txBody>
      </p:sp>
    </p:spTree>
    <p:extLst>
      <p:ext uri="{BB962C8B-B14F-4D97-AF65-F5344CB8AC3E}">
        <p14:creationId xmlns:p14="http://schemas.microsoft.com/office/powerpoint/2010/main" val="51978101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_rels/them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_rels/them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_rels/them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Волна">
  <a:themeElements>
    <a:clrScheme name="Волна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Волна">
      <a:majorFont>
        <a:latin typeface="Candara"/>
        <a:ea typeface=""/>
        <a:cs typeface=""/>
        <a:font script="Jpan" typeface="HGP明朝E"/>
        <a:font script="Hang" typeface="HY그래픽M"/>
        <a:font script="Hans" typeface="华文新魏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P明朝E"/>
        <a:font script="Hang" typeface="HY그래픽M"/>
        <a:font script="Hans" typeface="华文楷体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40000">
              <a:schemeClr val="phClr">
                <a:tint val="94000"/>
                <a:shade val="94000"/>
                <a:alpha val="100000"/>
                <a:satMod val="114000"/>
                <a:lumMod val="114000"/>
              </a:schemeClr>
            </a:gs>
            <a:gs pos="74000">
              <a:schemeClr val="phClr">
                <a:tint val="94000"/>
                <a:shade val="94000"/>
                <a:satMod val="128000"/>
                <a:lumMod val="100000"/>
              </a:schemeClr>
            </a:gs>
            <a:gs pos="100000">
              <a:schemeClr val="phClr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6000"/>
                <a:satMod val="130000"/>
                <a:lumMod val="50000"/>
              </a:schemeClr>
              <a:schemeClr val="phClr">
                <a:tint val="96000"/>
                <a:satMod val="114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рек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Трек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Метро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Трек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Трек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Метро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Трек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Трек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Метро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Трек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Трек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Метро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Метро">
    <a:dk1>
      <a:sysClr val="windowText" lastClr="000000"/>
    </a:dk1>
    <a:lt1>
      <a:sysClr val="window" lastClr="FFFFFF"/>
    </a:lt1>
    <a:dk2>
      <a:srgbClr val="4E5B6F"/>
    </a:dk2>
    <a:lt2>
      <a:srgbClr val="D6ECFF"/>
    </a:lt2>
    <a:accent1>
      <a:srgbClr val="7FD13B"/>
    </a:accent1>
    <a:accent2>
      <a:srgbClr val="EA157A"/>
    </a:accent2>
    <a:accent3>
      <a:srgbClr val="FEB80A"/>
    </a:accent3>
    <a:accent4>
      <a:srgbClr val="00ADDC"/>
    </a:accent4>
    <a:accent5>
      <a:srgbClr val="738AC8"/>
    </a:accent5>
    <a:accent6>
      <a:srgbClr val="1AB39F"/>
    </a:accent6>
    <a:hlink>
      <a:srgbClr val="EB8803"/>
    </a:hlink>
    <a:folHlink>
      <a:srgbClr val="5F7791"/>
    </a:folHlink>
  </a:clrScheme>
</a:themeOverride>
</file>

<file path=ppt/theme/themeOverride2.xml><?xml version="1.0" encoding="utf-8"?>
<a:themeOverride xmlns:a="http://schemas.openxmlformats.org/drawingml/2006/main">
  <a:clrScheme name="Метро">
    <a:dk1>
      <a:sysClr val="windowText" lastClr="000000"/>
    </a:dk1>
    <a:lt1>
      <a:sysClr val="window" lastClr="FFFFFF"/>
    </a:lt1>
    <a:dk2>
      <a:srgbClr val="4E5B6F"/>
    </a:dk2>
    <a:lt2>
      <a:srgbClr val="D6ECFF"/>
    </a:lt2>
    <a:accent1>
      <a:srgbClr val="7FD13B"/>
    </a:accent1>
    <a:accent2>
      <a:srgbClr val="EA157A"/>
    </a:accent2>
    <a:accent3>
      <a:srgbClr val="FEB80A"/>
    </a:accent3>
    <a:accent4>
      <a:srgbClr val="00ADDC"/>
    </a:accent4>
    <a:accent5>
      <a:srgbClr val="738AC8"/>
    </a:accent5>
    <a:accent6>
      <a:srgbClr val="1AB39F"/>
    </a:accent6>
    <a:hlink>
      <a:srgbClr val="EB8803"/>
    </a:hlink>
    <a:folHlink>
      <a:srgbClr val="5F7791"/>
    </a:folHlink>
  </a:clrScheme>
</a:themeOverride>
</file>

<file path=ppt/theme/themeOverride3.xml><?xml version="1.0" encoding="utf-8"?>
<a:themeOverride xmlns:a="http://schemas.openxmlformats.org/drawingml/2006/main">
  <a:clrScheme name="Метро">
    <a:dk1>
      <a:sysClr val="windowText" lastClr="000000"/>
    </a:dk1>
    <a:lt1>
      <a:sysClr val="window" lastClr="FFFFFF"/>
    </a:lt1>
    <a:dk2>
      <a:srgbClr val="4E5B6F"/>
    </a:dk2>
    <a:lt2>
      <a:srgbClr val="D6ECFF"/>
    </a:lt2>
    <a:accent1>
      <a:srgbClr val="7FD13B"/>
    </a:accent1>
    <a:accent2>
      <a:srgbClr val="EA157A"/>
    </a:accent2>
    <a:accent3>
      <a:srgbClr val="FEB80A"/>
    </a:accent3>
    <a:accent4>
      <a:srgbClr val="00ADDC"/>
    </a:accent4>
    <a:accent5>
      <a:srgbClr val="738AC8"/>
    </a:accent5>
    <a:accent6>
      <a:srgbClr val="1AB39F"/>
    </a:accent6>
    <a:hlink>
      <a:srgbClr val="EB8803"/>
    </a:hlink>
    <a:folHlink>
      <a:srgbClr val="5F7791"/>
    </a:folHlink>
  </a:clrScheme>
</a:themeOverride>
</file>

<file path=ppt/theme/themeOverride4.xml><?xml version="1.0" encoding="utf-8"?>
<a:themeOverride xmlns:a="http://schemas.openxmlformats.org/drawingml/2006/main">
  <a:clrScheme name="Метро">
    <a:dk1>
      <a:sysClr val="windowText" lastClr="000000"/>
    </a:dk1>
    <a:lt1>
      <a:sysClr val="window" lastClr="FFFFFF"/>
    </a:lt1>
    <a:dk2>
      <a:srgbClr val="4E5B6F"/>
    </a:dk2>
    <a:lt2>
      <a:srgbClr val="D6ECFF"/>
    </a:lt2>
    <a:accent1>
      <a:srgbClr val="7FD13B"/>
    </a:accent1>
    <a:accent2>
      <a:srgbClr val="EA157A"/>
    </a:accent2>
    <a:accent3>
      <a:srgbClr val="FEB80A"/>
    </a:accent3>
    <a:accent4>
      <a:srgbClr val="00ADDC"/>
    </a:accent4>
    <a:accent5>
      <a:srgbClr val="738AC8"/>
    </a:accent5>
    <a:accent6>
      <a:srgbClr val="1AB39F"/>
    </a:accent6>
    <a:hlink>
      <a:srgbClr val="EB8803"/>
    </a:hlink>
    <a:folHlink>
      <a:srgbClr val="5F7791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96</TotalTime>
  <Words>1098</Words>
  <Application>Microsoft Office PowerPoint</Application>
  <PresentationFormat>Экран (4:3)</PresentationFormat>
  <Paragraphs>346</Paragraphs>
  <Slides>1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Тема Office</vt:lpstr>
      <vt:lpstr>Волна</vt:lpstr>
      <vt:lpstr>Трек</vt:lpstr>
      <vt:lpstr>1_Трек</vt:lpstr>
      <vt:lpstr>2_Трек</vt:lpstr>
      <vt:lpstr>3_Трек</vt:lpstr>
      <vt:lpstr>think-cell Slide</vt:lpstr>
      <vt:lpstr>Презентация PowerPoint</vt:lpstr>
      <vt:lpstr>Паспорт проекта  «Оптимизация процесса комплексного анализа текста  в 5-6 классах»</vt:lpstr>
      <vt:lpstr>Команда проекта </vt:lpstr>
      <vt:lpstr>Презентация PowerPoint</vt:lpstr>
      <vt:lpstr>Презентация PowerPoint</vt:lpstr>
      <vt:lpstr>Пирамида проблем</vt:lpstr>
      <vt:lpstr>Презентация PowerPoint</vt:lpstr>
      <vt:lpstr>Презентация PowerPoint</vt:lpstr>
      <vt:lpstr>Презентация PowerPoint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HP</cp:lastModifiedBy>
  <cp:revision>207</cp:revision>
  <cp:lastPrinted>2019-04-25T09:14:46Z</cp:lastPrinted>
  <dcterms:created xsi:type="dcterms:W3CDTF">2018-08-20T14:01:12Z</dcterms:created>
  <dcterms:modified xsi:type="dcterms:W3CDTF">2021-10-07T13:09:18Z</dcterms:modified>
</cp:coreProperties>
</file>